
<file path=[Content_Types].xml><?xml version="1.0" encoding="utf-8"?>
<Types xmlns="http://schemas.openxmlformats.org/package/2006/content-types"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48"/>
  </p:notesMasterIdLst>
  <p:sldIdLst>
    <p:sldId id="256" r:id="rId5"/>
    <p:sldId id="259" r:id="rId6"/>
    <p:sldId id="741" r:id="rId7"/>
    <p:sldId id="257" r:id="rId8"/>
    <p:sldId id="260" r:id="rId9"/>
    <p:sldId id="785" r:id="rId10"/>
    <p:sldId id="799" r:id="rId11"/>
    <p:sldId id="268" r:id="rId12"/>
    <p:sldId id="378" r:id="rId13"/>
    <p:sldId id="788" r:id="rId14"/>
    <p:sldId id="789" r:id="rId15"/>
    <p:sldId id="790" r:id="rId16"/>
    <p:sldId id="801" r:id="rId17"/>
    <p:sldId id="792" r:id="rId18"/>
    <p:sldId id="793" r:id="rId19"/>
    <p:sldId id="802" r:id="rId20"/>
    <p:sldId id="795" r:id="rId21"/>
    <p:sldId id="803" r:id="rId22"/>
    <p:sldId id="804" r:id="rId23"/>
    <p:sldId id="796" r:id="rId24"/>
    <p:sldId id="659" r:id="rId25"/>
    <p:sldId id="766" r:id="rId26"/>
    <p:sldId id="786" r:id="rId27"/>
    <p:sldId id="805" r:id="rId28"/>
    <p:sldId id="787" r:id="rId29"/>
    <p:sldId id="806" r:id="rId30"/>
    <p:sldId id="791" r:id="rId31"/>
    <p:sldId id="807" r:id="rId32"/>
    <p:sldId id="794" r:id="rId33"/>
    <p:sldId id="808" r:id="rId34"/>
    <p:sldId id="797" r:id="rId35"/>
    <p:sldId id="809" r:id="rId36"/>
    <p:sldId id="798" r:id="rId37"/>
    <p:sldId id="810" r:id="rId38"/>
    <p:sldId id="800" r:id="rId39"/>
    <p:sldId id="661" r:id="rId40"/>
    <p:sldId id="774" r:id="rId41"/>
    <p:sldId id="269" r:id="rId42"/>
    <p:sldId id="514" r:id="rId43"/>
    <p:sldId id="311" r:id="rId44"/>
    <p:sldId id="560" r:id="rId45"/>
    <p:sldId id="258" r:id="rId46"/>
    <p:sldId id="295" r:id="rId47"/>
  </p:sldIdLst>
  <p:sldSz cx="12192000" cy="6858000"/>
  <p:notesSz cx="6858000" cy="9144000"/>
  <p:custDataLst>
    <p:tags r:id="rId4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D37E0177-E211-42F8-A7CC-FA63384FE6C3}">
          <p14:sldIdLst>
            <p14:sldId id="256"/>
          </p14:sldIdLst>
        </p14:section>
        <p14:section name="Sponsor" id="{D011E8E5-823D-480B-8BF6-54CDB31E68DA}">
          <p14:sldIdLst>
            <p14:sldId id="259"/>
            <p14:sldId id="741"/>
          </p14:sldIdLst>
        </p14:section>
        <p14:section name="Agenda" id="{F647BFF8-4121-4AA9-A3A5-704C7298B4AA}">
          <p14:sldIdLst>
            <p14:sldId id="257"/>
          </p14:sldIdLst>
        </p14:section>
        <p14:section name="Thema 1" id="{8DA5B730-9004-4FB2-8570-6E803035A6CD}">
          <p14:sldIdLst>
            <p14:sldId id="260"/>
            <p14:sldId id="785"/>
            <p14:sldId id="799"/>
          </p14:sldIdLst>
        </p14:section>
        <p14:section name="Teams - Neuigkeiten" id="{73969E79-BF4C-4A42-908F-F7570ABA4A98}">
          <p14:sldIdLst>
            <p14:sldId id="268"/>
            <p14:sldId id="378"/>
            <p14:sldId id="788"/>
            <p14:sldId id="789"/>
            <p14:sldId id="790"/>
            <p14:sldId id="801"/>
            <p14:sldId id="792"/>
            <p14:sldId id="793"/>
            <p14:sldId id="802"/>
            <p14:sldId id="795"/>
            <p14:sldId id="803"/>
            <p14:sldId id="804"/>
            <p14:sldId id="796"/>
          </p14:sldIdLst>
        </p14:section>
        <p14:section name="Teams - Admin Neuigkeiten" id="{7C225801-E561-41DE-8F97-F87042681E2C}">
          <p14:sldIdLst>
            <p14:sldId id="659"/>
            <p14:sldId id="766"/>
            <p14:sldId id="786"/>
            <p14:sldId id="805"/>
            <p14:sldId id="787"/>
            <p14:sldId id="806"/>
            <p14:sldId id="791"/>
            <p14:sldId id="807"/>
            <p14:sldId id="794"/>
            <p14:sldId id="808"/>
            <p14:sldId id="797"/>
            <p14:sldId id="809"/>
            <p14:sldId id="798"/>
            <p14:sldId id="810"/>
          </p14:sldIdLst>
        </p14:section>
        <p14:section name="Thema 2" id="{BB4DF258-6F6B-4D2B-9274-58E5C608B757}">
          <p14:sldIdLst>
            <p14:sldId id="800"/>
            <p14:sldId id="661"/>
            <p14:sldId id="774"/>
          </p14:sldIdLst>
        </p14:section>
        <p14:section name="Teams Links" id="{C626A91B-1CDC-41DD-9427-AA9AC4C3F91D}">
          <p14:sldIdLst>
            <p14:sldId id="269"/>
          </p14:sldIdLst>
        </p14:section>
        <p14:section name="Microsoft 365 Message Center" id="{0509DF31-EEE8-42C8-AA24-84C932B426A6}">
          <p14:sldIdLst>
            <p14:sldId id="514"/>
          </p14:sldIdLst>
        </p14:section>
        <p14:section name="Organisatorisches" id="{758F5043-CBE5-4C5B-AC05-24F0E67CE7B1}">
          <p14:sldIdLst>
            <p14:sldId id="311"/>
            <p14:sldId id="560"/>
          </p14:sldIdLst>
        </p14:section>
        <p14:section name="Final" id="{ED9DC36E-CA50-4511-A993-523054390192}">
          <p14:sldIdLst>
            <p14:sldId id="258"/>
          </p14:sldIdLst>
        </p14:section>
        <p14:section name="Offene Diskussion" id="{3CED83CD-B212-4EFE-8FBC-C7C92AC8FE7A}">
          <p14:sldIdLst>
            <p14:sldId id="29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7400056-9986-479D-B453-47B484FEC0A9}" v="91" dt="2023-12-10T12:47:46.06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2838BEF-8BB2-4498-84A7-C5851F593DF1}" styleName="Mittlere Formatvorlage 4 - Akz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ABFCF23-3B69-468F-B69F-88F6DE6A72F2}" styleName="Mittlere Formatvorlage 1 - Akz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BC89EF96-8CEA-46FF-86C4-4CE0E7609802}" styleName="Helle Formatvorlage 3 - Akz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Mittlere Formatvorlage 1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416" autoAdjust="0"/>
    <p:restoredTop sz="74887" autoAdjust="0"/>
  </p:normalViewPr>
  <p:slideViewPr>
    <p:cSldViewPr snapToGrid="0">
      <p:cViewPr varScale="1">
        <p:scale>
          <a:sx n="77" d="100"/>
          <a:sy n="77" d="100"/>
        </p:scale>
        <p:origin x="1350" y="5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6000" y="19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presProps" Target="presProps.xml"/><Relationship Id="rId55" Type="http://schemas.microsoft.com/office/2015/10/relationships/revisionInfo" Target="revisionInfo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51" Type="http://schemas.openxmlformats.org/officeDocument/2006/relationships/viewProps" Target="viewProps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omas Stensitzki" userId="75cafe6b-2f2a-469b-85c4-eec3b9c972ba" providerId="ADAL" clId="{F2BB4D5E-E5E5-4B84-8DD9-A7ADA0B72E44}"/>
    <pc:docChg chg="undo custSel addSld delSld modSld sldOrd delSection modSection">
      <pc:chgData name="Thomas Stensitzki" userId="75cafe6b-2f2a-469b-85c4-eec3b9c972ba" providerId="ADAL" clId="{F2BB4D5E-E5E5-4B84-8DD9-A7ADA0B72E44}" dt="2022-05-10T08:03:07.444" v="4346" actId="20577"/>
      <pc:docMkLst>
        <pc:docMk/>
      </pc:docMkLst>
      <pc:sldChg chg="modSp mod modTransition">
        <pc:chgData name="Thomas Stensitzki" userId="75cafe6b-2f2a-469b-85c4-eec3b9c972ba" providerId="ADAL" clId="{F2BB4D5E-E5E5-4B84-8DD9-A7ADA0B72E44}" dt="2022-04-24T09:40:00.182" v="3780"/>
        <pc:sldMkLst>
          <pc:docMk/>
          <pc:sldMk cId="671489701" sldId="256"/>
        </pc:sldMkLst>
        <pc:spChg chg="mod">
          <ac:chgData name="Thomas Stensitzki" userId="75cafe6b-2f2a-469b-85c4-eec3b9c972ba" providerId="ADAL" clId="{F2BB4D5E-E5E5-4B84-8DD9-A7ADA0B72E44}" dt="2022-04-19T12:20:42.343" v="14" actId="6549"/>
          <ac:spMkLst>
            <pc:docMk/>
            <pc:sldMk cId="671489701" sldId="256"/>
            <ac:spMk id="3" creationId="{CBA95633-B02D-4A15-A8B1-A38E0A70FD27}"/>
          </ac:spMkLst>
        </pc:spChg>
      </pc:sldChg>
      <pc:sldChg chg="delSp modSp mod modTransition">
        <pc:chgData name="Thomas Stensitzki" userId="75cafe6b-2f2a-469b-85c4-eec3b9c972ba" providerId="ADAL" clId="{F2BB4D5E-E5E5-4B84-8DD9-A7ADA0B72E44}" dt="2022-04-28T15:43:53.935" v="4318" actId="6549"/>
        <pc:sldMkLst>
          <pc:docMk/>
          <pc:sldMk cId="2855324227" sldId="257"/>
        </pc:sldMkLst>
        <pc:grpChg chg="del">
          <ac:chgData name="Thomas Stensitzki" userId="75cafe6b-2f2a-469b-85c4-eec3b9c972ba" providerId="ADAL" clId="{F2BB4D5E-E5E5-4B84-8DD9-A7ADA0B72E44}" dt="2022-04-19T12:21:56.725" v="45" actId="478"/>
          <ac:grpSpMkLst>
            <pc:docMk/>
            <pc:sldMk cId="2855324227" sldId="257"/>
            <ac:grpSpMk id="10" creationId="{D2AA4FDE-6B43-48F3-A5F5-5B79619A7E68}"/>
          </ac:grpSpMkLst>
        </pc:grpChg>
        <pc:graphicFrameChg chg="mod modGraphic">
          <ac:chgData name="Thomas Stensitzki" userId="75cafe6b-2f2a-469b-85c4-eec3b9c972ba" providerId="ADAL" clId="{F2BB4D5E-E5E5-4B84-8DD9-A7ADA0B72E44}" dt="2022-04-28T15:43:53.935" v="4318" actId="6549"/>
          <ac:graphicFrameMkLst>
            <pc:docMk/>
            <pc:sldMk cId="2855324227" sldId="257"/>
            <ac:graphicFrameMk id="6" creationId="{0F955DCC-462D-431D-BBDE-26F10687D590}"/>
          </ac:graphicFrameMkLst>
        </pc:graphicFrameChg>
      </pc:sldChg>
      <pc:sldChg chg="modSp mod modTransition">
        <pc:chgData name="Thomas Stensitzki" userId="75cafe6b-2f2a-469b-85c4-eec3b9c972ba" providerId="ADAL" clId="{F2BB4D5E-E5E5-4B84-8DD9-A7ADA0B72E44}" dt="2022-04-24T09:40:00.182" v="3780"/>
        <pc:sldMkLst>
          <pc:docMk/>
          <pc:sldMk cId="3332792154" sldId="258"/>
        </pc:sldMkLst>
        <pc:spChg chg="mod">
          <ac:chgData name="Thomas Stensitzki" userId="75cafe6b-2f2a-469b-85c4-eec3b9c972ba" providerId="ADAL" clId="{F2BB4D5E-E5E5-4B84-8DD9-A7ADA0B72E44}" dt="2022-04-19T12:25:42.045" v="198" actId="20577"/>
          <ac:spMkLst>
            <pc:docMk/>
            <pc:sldMk cId="3332792154" sldId="258"/>
            <ac:spMk id="3" creationId="{3A5A44EB-7FB9-473A-8ED3-C49DDD2E65AB}"/>
          </ac:spMkLst>
        </pc:spChg>
      </pc:sldChg>
      <pc:sldChg chg="modTransition">
        <pc:chgData name="Thomas Stensitzki" userId="75cafe6b-2f2a-469b-85c4-eec3b9c972ba" providerId="ADAL" clId="{F2BB4D5E-E5E5-4B84-8DD9-A7ADA0B72E44}" dt="2022-04-24T09:40:00.182" v="3780"/>
        <pc:sldMkLst>
          <pc:docMk/>
          <pc:sldMk cId="1545829058" sldId="259"/>
        </pc:sldMkLst>
      </pc:sldChg>
      <pc:sldChg chg="modSp mod modTransition">
        <pc:chgData name="Thomas Stensitzki" userId="75cafe6b-2f2a-469b-85c4-eec3b9c972ba" providerId="ADAL" clId="{F2BB4D5E-E5E5-4B84-8DD9-A7ADA0B72E44}" dt="2022-04-24T09:40:00.182" v="3780"/>
        <pc:sldMkLst>
          <pc:docMk/>
          <pc:sldMk cId="2698998357" sldId="260"/>
        </pc:sldMkLst>
        <pc:spChg chg="mod">
          <ac:chgData name="Thomas Stensitzki" userId="75cafe6b-2f2a-469b-85c4-eec3b9c972ba" providerId="ADAL" clId="{F2BB4D5E-E5E5-4B84-8DD9-A7ADA0B72E44}" dt="2022-04-19T12:23:07.832" v="89"/>
          <ac:spMkLst>
            <pc:docMk/>
            <pc:sldMk cId="2698998357" sldId="260"/>
            <ac:spMk id="4" creationId="{F3A15CBD-C746-44A3-A4F0-4898CE2F02E6}"/>
          </ac:spMkLst>
        </pc:spChg>
        <pc:spChg chg="mod">
          <ac:chgData name="Thomas Stensitzki" userId="75cafe6b-2f2a-469b-85c4-eec3b9c972ba" providerId="ADAL" clId="{F2BB4D5E-E5E5-4B84-8DD9-A7ADA0B72E44}" dt="2022-04-19T12:23:21.309" v="123" actId="20577"/>
          <ac:spMkLst>
            <pc:docMk/>
            <pc:sldMk cId="2698998357" sldId="260"/>
            <ac:spMk id="5" creationId="{F3459BE7-1731-4733-A912-12977C68CFD6}"/>
          </ac:spMkLst>
        </pc:spChg>
      </pc:sldChg>
      <pc:sldChg chg="del mod modTransition modShow">
        <pc:chgData name="Thomas Stensitzki" userId="75cafe6b-2f2a-469b-85c4-eec3b9c972ba" providerId="ADAL" clId="{F2BB4D5E-E5E5-4B84-8DD9-A7ADA0B72E44}" dt="2022-04-29T05:46:47.851" v="4338" actId="18676"/>
        <pc:sldMkLst>
          <pc:docMk/>
          <pc:sldMk cId="4007670073" sldId="268"/>
        </pc:sldMkLst>
      </pc:sldChg>
      <pc:sldChg chg="mod modTransition modShow">
        <pc:chgData name="Thomas Stensitzki" userId="75cafe6b-2f2a-469b-85c4-eec3b9c972ba" providerId="ADAL" clId="{F2BB4D5E-E5E5-4B84-8DD9-A7ADA0B72E44}" dt="2022-04-28T15:44:48.047" v="4320" actId="729"/>
        <pc:sldMkLst>
          <pc:docMk/>
          <pc:sldMk cId="2721051844" sldId="269"/>
        </pc:sldMkLst>
      </pc:sldChg>
      <pc:sldChg chg="modTransition">
        <pc:chgData name="Thomas Stensitzki" userId="75cafe6b-2f2a-469b-85c4-eec3b9c972ba" providerId="ADAL" clId="{F2BB4D5E-E5E5-4B84-8DD9-A7ADA0B72E44}" dt="2022-04-24T09:40:00.182" v="3780"/>
        <pc:sldMkLst>
          <pc:docMk/>
          <pc:sldMk cId="1928334901" sldId="295"/>
        </pc:sldMkLst>
      </pc:sldChg>
      <pc:sldChg chg="del modTransition">
        <pc:chgData name="Thomas Stensitzki" userId="75cafe6b-2f2a-469b-85c4-eec3b9c972ba" providerId="ADAL" clId="{F2BB4D5E-E5E5-4B84-8DD9-A7ADA0B72E44}" dt="2022-04-29T05:46:58.925" v="4340" actId="18676"/>
        <pc:sldMkLst>
          <pc:docMk/>
          <pc:sldMk cId="466045460" sldId="296"/>
        </pc:sldMkLst>
      </pc:sldChg>
      <pc:sldChg chg="modTransition">
        <pc:chgData name="Thomas Stensitzki" userId="75cafe6b-2f2a-469b-85c4-eec3b9c972ba" providerId="ADAL" clId="{F2BB4D5E-E5E5-4B84-8DD9-A7ADA0B72E44}" dt="2022-04-24T09:40:00.182" v="3780"/>
        <pc:sldMkLst>
          <pc:docMk/>
          <pc:sldMk cId="53967156" sldId="297"/>
        </pc:sldMkLst>
      </pc:sldChg>
      <pc:sldChg chg="modTransition">
        <pc:chgData name="Thomas Stensitzki" userId="75cafe6b-2f2a-469b-85c4-eec3b9c972ba" providerId="ADAL" clId="{F2BB4D5E-E5E5-4B84-8DD9-A7ADA0B72E44}" dt="2022-04-24T09:40:00.182" v="3780"/>
        <pc:sldMkLst>
          <pc:docMk/>
          <pc:sldMk cId="2814967912" sldId="311"/>
        </pc:sldMkLst>
      </pc:sldChg>
      <pc:sldChg chg="modTransition">
        <pc:chgData name="Thomas Stensitzki" userId="75cafe6b-2f2a-469b-85c4-eec3b9c972ba" providerId="ADAL" clId="{F2BB4D5E-E5E5-4B84-8DD9-A7ADA0B72E44}" dt="2022-04-24T09:40:00.182" v="3780"/>
        <pc:sldMkLst>
          <pc:docMk/>
          <pc:sldMk cId="726195275" sldId="313"/>
        </pc:sldMkLst>
      </pc:sldChg>
      <pc:sldChg chg="del mod modTransition modShow">
        <pc:chgData name="Thomas Stensitzki" userId="75cafe6b-2f2a-469b-85c4-eec3b9c972ba" providerId="ADAL" clId="{F2BB4D5E-E5E5-4B84-8DD9-A7ADA0B72E44}" dt="2022-04-29T05:46:47.851" v="4338" actId="18676"/>
        <pc:sldMkLst>
          <pc:docMk/>
          <pc:sldMk cId="2227487991" sldId="378"/>
        </pc:sldMkLst>
      </pc:sldChg>
      <pc:sldChg chg="modTransition">
        <pc:chgData name="Thomas Stensitzki" userId="75cafe6b-2f2a-469b-85c4-eec3b9c972ba" providerId="ADAL" clId="{F2BB4D5E-E5E5-4B84-8DD9-A7ADA0B72E44}" dt="2022-04-24T09:40:00.182" v="3780"/>
        <pc:sldMkLst>
          <pc:docMk/>
          <pc:sldMk cId="2923837414" sldId="513"/>
        </pc:sldMkLst>
      </pc:sldChg>
      <pc:sldChg chg="modTransition">
        <pc:chgData name="Thomas Stensitzki" userId="75cafe6b-2f2a-469b-85c4-eec3b9c972ba" providerId="ADAL" clId="{F2BB4D5E-E5E5-4B84-8DD9-A7ADA0B72E44}" dt="2022-04-24T09:40:00.182" v="3780"/>
        <pc:sldMkLst>
          <pc:docMk/>
          <pc:sldMk cId="2395924320" sldId="514"/>
        </pc:sldMkLst>
      </pc:sldChg>
      <pc:sldChg chg="del mod modTransition modShow">
        <pc:chgData name="Thomas Stensitzki" userId="75cafe6b-2f2a-469b-85c4-eec3b9c972ba" providerId="ADAL" clId="{F2BB4D5E-E5E5-4B84-8DD9-A7ADA0B72E44}" dt="2022-04-29T05:46:51.822" v="4339" actId="18676"/>
        <pc:sldMkLst>
          <pc:docMk/>
          <pc:sldMk cId="3797754622" sldId="515"/>
        </pc:sldMkLst>
      </pc:sldChg>
      <pc:sldChg chg="modTransition">
        <pc:chgData name="Thomas Stensitzki" userId="75cafe6b-2f2a-469b-85c4-eec3b9c972ba" providerId="ADAL" clId="{F2BB4D5E-E5E5-4B84-8DD9-A7ADA0B72E44}" dt="2022-04-24T09:40:00.182" v="3780"/>
        <pc:sldMkLst>
          <pc:docMk/>
          <pc:sldMk cId="2791634409" sldId="560"/>
        </pc:sldMkLst>
      </pc:sldChg>
      <pc:sldChg chg="modSp mod modTransition">
        <pc:chgData name="Thomas Stensitzki" userId="75cafe6b-2f2a-469b-85c4-eec3b9c972ba" providerId="ADAL" clId="{F2BB4D5E-E5E5-4B84-8DD9-A7ADA0B72E44}" dt="2022-04-24T09:40:00.182" v="3780"/>
        <pc:sldMkLst>
          <pc:docMk/>
          <pc:sldMk cId="1728515471" sldId="561"/>
        </pc:sldMkLst>
        <pc:graphicFrameChg chg="modGraphic">
          <ac:chgData name="Thomas Stensitzki" userId="75cafe6b-2f2a-469b-85c4-eec3b9c972ba" providerId="ADAL" clId="{F2BB4D5E-E5E5-4B84-8DD9-A7ADA0B72E44}" dt="2022-04-19T12:25:17.142" v="165" actId="2165"/>
          <ac:graphicFrameMkLst>
            <pc:docMk/>
            <pc:sldMk cId="1728515471" sldId="561"/>
            <ac:graphicFrameMk id="4" creationId="{55EDB790-67BC-42E5-B64A-5647620B8383}"/>
          </ac:graphicFrameMkLst>
        </pc:graphicFrameChg>
      </pc:sldChg>
      <pc:sldChg chg="del">
        <pc:chgData name="Thomas Stensitzki" userId="75cafe6b-2f2a-469b-85c4-eec3b9c972ba" providerId="ADAL" clId="{F2BB4D5E-E5E5-4B84-8DD9-A7ADA0B72E44}" dt="2022-04-19T12:23:55.448" v="125" actId="47"/>
        <pc:sldMkLst>
          <pc:docMk/>
          <pc:sldMk cId="4104137776" sldId="567"/>
        </pc:sldMkLst>
      </pc:sldChg>
      <pc:sldChg chg="del">
        <pc:chgData name="Thomas Stensitzki" userId="75cafe6b-2f2a-469b-85c4-eec3b9c972ba" providerId="ADAL" clId="{F2BB4D5E-E5E5-4B84-8DD9-A7ADA0B72E44}" dt="2022-04-19T12:23:51.426" v="124" actId="47"/>
        <pc:sldMkLst>
          <pc:docMk/>
          <pc:sldMk cId="2374589673" sldId="568"/>
        </pc:sldMkLst>
      </pc:sldChg>
      <pc:sldChg chg="del">
        <pc:chgData name="Thomas Stensitzki" userId="75cafe6b-2f2a-469b-85c4-eec3b9c972ba" providerId="ADAL" clId="{F2BB4D5E-E5E5-4B84-8DD9-A7ADA0B72E44}" dt="2022-04-19T12:23:55.448" v="125" actId="47"/>
        <pc:sldMkLst>
          <pc:docMk/>
          <pc:sldMk cId="1152622229" sldId="569"/>
        </pc:sldMkLst>
      </pc:sldChg>
      <pc:sldChg chg="del">
        <pc:chgData name="Thomas Stensitzki" userId="75cafe6b-2f2a-469b-85c4-eec3b9c972ba" providerId="ADAL" clId="{F2BB4D5E-E5E5-4B84-8DD9-A7ADA0B72E44}" dt="2022-04-19T12:23:51.426" v="124" actId="47"/>
        <pc:sldMkLst>
          <pc:docMk/>
          <pc:sldMk cId="1687430561" sldId="570"/>
        </pc:sldMkLst>
      </pc:sldChg>
      <pc:sldChg chg="del">
        <pc:chgData name="Thomas Stensitzki" userId="75cafe6b-2f2a-469b-85c4-eec3b9c972ba" providerId="ADAL" clId="{F2BB4D5E-E5E5-4B84-8DD9-A7ADA0B72E44}" dt="2022-04-19T12:23:51.426" v="124" actId="47"/>
        <pc:sldMkLst>
          <pc:docMk/>
          <pc:sldMk cId="3500137736" sldId="571"/>
        </pc:sldMkLst>
      </pc:sldChg>
      <pc:sldChg chg="del">
        <pc:chgData name="Thomas Stensitzki" userId="75cafe6b-2f2a-469b-85c4-eec3b9c972ba" providerId="ADAL" clId="{F2BB4D5E-E5E5-4B84-8DD9-A7ADA0B72E44}" dt="2022-04-19T12:23:51.426" v="124" actId="47"/>
        <pc:sldMkLst>
          <pc:docMk/>
          <pc:sldMk cId="3650339848" sldId="572"/>
        </pc:sldMkLst>
      </pc:sldChg>
      <pc:sldChg chg="del">
        <pc:chgData name="Thomas Stensitzki" userId="75cafe6b-2f2a-469b-85c4-eec3b9c972ba" providerId="ADAL" clId="{F2BB4D5E-E5E5-4B84-8DD9-A7ADA0B72E44}" dt="2022-04-19T12:23:57.164" v="126" actId="47"/>
        <pc:sldMkLst>
          <pc:docMk/>
          <pc:sldMk cId="1013366872" sldId="573"/>
        </pc:sldMkLst>
      </pc:sldChg>
      <pc:sldChg chg="del">
        <pc:chgData name="Thomas Stensitzki" userId="75cafe6b-2f2a-469b-85c4-eec3b9c972ba" providerId="ADAL" clId="{F2BB4D5E-E5E5-4B84-8DD9-A7ADA0B72E44}" dt="2022-04-19T12:23:51.426" v="124" actId="47"/>
        <pc:sldMkLst>
          <pc:docMk/>
          <pc:sldMk cId="3064786489" sldId="574"/>
        </pc:sldMkLst>
      </pc:sldChg>
      <pc:sldChg chg="del">
        <pc:chgData name="Thomas Stensitzki" userId="75cafe6b-2f2a-469b-85c4-eec3b9c972ba" providerId="ADAL" clId="{F2BB4D5E-E5E5-4B84-8DD9-A7ADA0B72E44}" dt="2022-04-19T12:23:51.426" v="124" actId="47"/>
        <pc:sldMkLst>
          <pc:docMk/>
          <pc:sldMk cId="2959338283" sldId="575"/>
        </pc:sldMkLst>
      </pc:sldChg>
      <pc:sldChg chg="del">
        <pc:chgData name="Thomas Stensitzki" userId="75cafe6b-2f2a-469b-85c4-eec3b9c972ba" providerId="ADAL" clId="{F2BB4D5E-E5E5-4B84-8DD9-A7ADA0B72E44}" dt="2022-04-19T12:23:51.426" v="124" actId="47"/>
        <pc:sldMkLst>
          <pc:docMk/>
          <pc:sldMk cId="267886642" sldId="576"/>
        </pc:sldMkLst>
      </pc:sldChg>
      <pc:sldChg chg="del">
        <pc:chgData name="Thomas Stensitzki" userId="75cafe6b-2f2a-469b-85c4-eec3b9c972ba" providerId="ADAL" clId="{F2BB4D5E-E5E5-4B84-8DD9-A7ADA0B72E44}" dt="2022-04-19T12:23:57.164" v="126" actId="47"/>
        <pc:sldMkLst>
          <pc:docMk/>
          <pc:sldMk cId="3394268917" sldId="577"/>
        </pc:sldMkLst>
      </pc:sldChg>
      <pc:sldChg chg="del">
        <pc:chgData name="Thomas Stensitzki" userId="75cafe6b-2f2a-469b-85c4-eec3b9c972ba" providerId="ADAL" clId="{F2BB4D5E-E5E5-4B84-8DD9-A7ADA0B72E44}" dt="2022-04-19T12:23:51.426" v="124" actId="47"/>
        <pc:sldMkLst>
          <pc:docMk/>
          <pc:sldMk cId="42815850" sldId="578"/>
        </pc:sldMkLst>
      </pc:sldChg>
      <pc:sldChg chg="del">
        <pc:chgData name="Thomas Stensitzki" userId="75cafe6b-2f2a-469b-85c4-eec3b9c972ba" providerId="ADAL" clId="{F2BB4D5E-E5E5-4B84-8DD9-A7ADA0B72E44}" dt="2022-04-19T12:23:58.675" v="127" actId="47"/>
        <pc:sldMkLst>
          <pc:docMk/>
          <pc:sldMk cId="1853019381" sldId="580"/>
        </pc:sldMkLst>
      </pc:sldChg>
      <pc:sldChg chg="del">
        <pc:chgData name="Thomas Stensitzki" userId="75cafe6b-2f2a-469b-85c4-eec3b9c972ba" providerId="ADAL" clId="{F2BB4D5E-E5E5-4B84-8DD9-A7ADA0B72E44}" dt="2022-04-19T12:23:51.426" v="124" actId="47"/>
        <pc:sldMkLst>
          <pc:docMk/>
          <pc:sldMk cId="2983071606" sldId="581"/>
        </pc:sldMkLst>
      </pc:sldChg>
      <pc:sldChg chg="del">
        <pc:chgData name="Thomas Stensitzki" userId="75cafe6b-2f2a-469b-85c4-eec3b9c972ba" providerId="ADAL" clId="{F2BB4D5E-E5E5-4B84-8DD9-A7ADA0B72E44}" dt="2022-04-19T12:23:51.426" v="124" actId="47"/>
        <pc:sldMkLst>
          <pc:docMk/>
          <pc:sldMk cId="170210111" sldId="582"/>
        </pc:sldMkLst>
      </pc:sldChg>
      <pc:sldChg chg="del">
        <pc:chgData name="Thomas Stensitzki" userId="75cafe6b-2f2a-469b-85c4-eec3b9c972ba" providerId="ADAL" clId="{F2BB4D5E-E5E5-4B84-8DD9-A7ADA0B72E44}" dt="2022-04-19T12:24:00.296" v="128" actId="47"/>
        <pc:sldMkLst>
          <pc:docMk/>
          <pc:sldMk cId="631042199" sldId="583"/>
        </pc:sldMkLst>
      </pc:sldChg>
      <pc:sldChg chg="del">
        <pc:chgData name="Thomas Stensitzki" userId="75cafe6b-2f2a-469b-85c4-eec3b9c972ba" providerId="ADAL" clId="{F2BB4D5E-E5E5-4B84-8DD9-A7ADA0B72E44}" dt="2022-04-19T12:24:00.296" v="128" actId="47"/>
        <pc:sldMkLst>
          <pc:docMk/>
          <pc:sldMk cId="120922638" sldId="584"/>
        </pc:sldMkLst>
      </pc:sldChg>
      <pc:sldChg chg="del">
        <pc:chgData name="Thomas Stensitzki" userId="75cafe6b-2f2a-469b-85c4-eec3b9c972ba" providerId="ADAL" clId="{F2BB4D5E-E5E5-4B84-8DD9-A7ADA0B72E44}" dt="2022-04-19T12:24:02.307" v="129" actId="47"/>
        <pc:sldMkLst>
          <pc:docMk/>
          <pc:sldMk cId="569684178" sldId="585"/>
        </pc:sldMkLst>
      </pc:sldChg>
      <pc:sldChg chg="del">
        <pc:chgData name="Thomas Stensitzki" userId="75cafe6b-2f2a-469b-85c4-eec3b9c972ba" providerId="ADAL" clId="{F2BB4D5E-E5E5-4B84-8DD9-A7ADA0B72E44}" dt="2022-04-19T12:23:51.426" v="124" actId="47"/>
        <pc:sldMkLst>
          <pc:docMk/>
          <pc:sldMk cId="2892638827" sldId="586"/>
        </pc:sldMkLst>
      </pc:sldChg>
      <pc:sldChg chg="del">
        <pc:chgData name="Thomas Stensitzki" userId="75cafe6b-2f2a-469b-85c4-eec3b9c972ba" providerId="ADAL" clId="{F2BB4D5E-E5E5-4B84-8DD9-A7ADA0B72E44}" dt="2022-04-19T12:24:02.307" v="129" actId="47"/>
        <pc:sldMkLst>
          <pc:docMk/>
          <pc:sldMk cId="952964549" sldId="587"/>
        </pc:sldMkLst>
      </pc:sldChg>
      <pc:sldChg chg="del">
        <pc:chgData name="Thomas Stensitzki" userId="75cafe6b-2f2a-469b-85c4-eec3b9c972ba" providerId="ADAL" clId="{F2BB4D5E-E5E5-4B84-8DD9-A7ADA0B72E44}" dt="2022-04-19T12:23:51.426" v="124" actId="47"/>
        <pc:sldMkLst>
          <pc:docMk/>
          <pc:sldMk cId="3831261343" sldId="588"/>
        </pc:sldMkLst>
      </pc:sldChg>
      <pc:sldChg chg="del">
        <pc:chgData name="Thomas Stensitzki" userId="75cafe6b-2f2a-469b-85c4-eec3b9c972ba" providerId="ADAL" clId="{F2BB4D5E-E5E5-4B84-8DD9-A7ADA0B72E44}" dt="2022-04-19T12:23:51.426" v="124" actId="47"/>
        <pc:sldMkLst>
          <pc:docMk/>
          <pc:sldMk cId="3795303455" sldId="589"/>
        </pc:sldMkLst>
      </pc:sldChg>
      <pc:sldChg chg="del mod modTransition modShow">
        <pc:chgData name="Thomas Stensitzki" userId="75cafe6b-2f2a-469b-85c4-eec3b9c972ba" providerId="ADAL" clId="{F2BB4D5E-E5E5-4B84-8DD9-A7ADA0B72E44}" dt="2022-04-29T05:46:47.851" v="4338" actId="18676"/>
        <pc:sldMkLst>
          <pc:docMk/>
          <pc:sldMk cId="3073320387" sldId="590"/>
        </pc:sldMkLst>
      </pc:sldChg>
      <pc:sldChg chg="addSp delSp modSp new mod modTransition modClrScheme chgLayout">
        <pc:chgData name="Thomas Stensitzki" userId="75cafe6b-2f2a-469b-85c4-eec3b9c972ba" providerId="ADAL" clId="{F2BB4D5E-E5E5-4B84-8DD9-A7ADA0B72E44}" dt="2022-04-24T09:40:00.182" v="3780"/>
        <pc:sldMkLst>
          <pc:docMk/>
          <pc:sldMk cId="2363331893" sldId="591"/>
        </pc:sldMkLst>
        <pc:spChg chg="del mod ord">
          <ac:chgData name="Thomas Stensitzki" userId="75cafe6b-2f2a-469b-85c4-eec3b9c972ba" providerId="ADAL" clId="{F2BB4D5E-E5E5-4B84-8DD9-A7ADA0B72E44}" dt="2022-04-23T09:22:02.525" v="200" actId="700"/>
          <ac:spMkLst>
            <pc:docMk/>
            <pc:sldMk cId="2363331893" sldId="591"/>
            <ac:spMk id="2" creationId="{526541C5-3F4A-4170-B689-A4EB12620F59}"/>
          </ac:spMkLst>
        </pc:spChg>
        <pc:spChg chg="del mod ord">
          <ac:chgData name="Thomas Stensitzki" userId="75cafe6b-2f2a-469b-85c4-eec3b9c972ba" providerId="ADAL" clId="{F2BB4D5E-E5E5-4B84-8DD9-A7ADA0B72E44}" dt="2022-04-23T09:22:02.525" v="200" actId="700"/>
          <ac:spMkLst>
            <pc:docMk/>
            <pc:sldMk cId="2363331893" sldId="591"/>
            <ac:spMk id="3" creationId="{E2D57D62-47F7-43E8-A60D-D9337E34DDAF}"/>
          </ac:spMkLst>
        </pc:spChg>
        <pc:spChg chg="add mod ord">
          <ac:chgData name="Thomas Stensitzki" userId="75cafe6b-2f2a-469b-85c4-eec3b9c972ba" providerId="ADAL" clId="{F2BB4D5E-E5E5-4B84-8DD9-A7ADA0B72E44}" dt="2022-04-23T09:22:11.325" v="227" actId="20577"/>
          <ac:spMkLst>
            <pc:docMk/>
            <pc:sldMk cId="2363331893" sldId="591"/>
            <ac:spMk id="4" creationId="{041C0BDF-2374-4ACD-9289-35E2F2C5124D}"/>
          </ac:spMkLst>
        </pc:spChg>
        <pc:spChg chg="add mod ord">
          <ac:chgData name="Thomas Stensitzki" userId="75cafe6b-2f2a-469b-85c4-eec3b9c972ba" providerId="ADAL" clId="{F2BB4D5E-E5E5-4B84-8DD9-A7ADA0B72E44}" dt="2022-04-23T09:25:45.940" v="446" actId="20577"/>
          <ac:spMkLst>
            <pc:docMk/>
            <pc:sldMk cId="2363331893" sldId="591"/>
            <ac:spMk id="5" creationId="{B1886A4C-E9E4-4111-BFDC-F9784FD52406}"/>
          </ac:spMkLst>
        </pc:spChg>
      </pc:sldChg>
      <pc:sldChg chg="del">
        <pc:chgData name="Thomas Stensitzki" userId="75cafe6b-2f2a-469b-85c4-eec3b9c972ba" providerId="ADAL" clId="{F2BB4D5E-E5E5-4B84-8DD9-A7ADA0B72E44}" dt="2022-04-19T12:23:51.426" v="124" actId="47"/>
        <pc:sldMkLst>
          <pc:docMk/>
          <pc:sldMk cId="3676688735" sldId="591"/>
        </pc:sldMkLst>
      </pc:sldChg>
      <pc:sldChg chg="del">
        <pc:chgData name="Thomas Stensitzki" userId="75cafe6b-2f2a-469b-85c4-eec3b9c972ba" providerId="ADAL" clId="{F2BB4D5E-E5E5-4B84-8DD9-A7ADA0B72E44}" dt="2022-04-19T12:23:51.426" v="124" actId="47"/>
        <pc:sldMkLst>
          <pc:docMk/>
          <pc:sldMk cId="3760764139" sldId="592"/>
        </pc:sldMkLst>
      </pc:sldChg>
      <pc:sldChg chg="addSp modSp add mod modTransition">
        <pc:chgData name="Thomas Stensitzki" userId="75cafe6b-2f2a-469b-85c4-eec3b9c972ba" providerId="ADAL" clId="{F2BB4D5E-E5E5-4B84-8DD9-A7ADA0B72E44}" dt="2022-04-24T09:40:00.182" v="3780"/>
        <pc:sldMkLst>
          <pc:docMk/>
          <pc:sldMk cId="3853557247" sldId="592"/>
        </pc:sldMkLst>
        <pc:spChg chg="mod">
          <ac:chgData name="Thomas Stensitzki" userId="75cafe6b-2f2a-469b-85c4-eec3b9c972ba" providerId="ADAL" clId="{F2BB4D5E-E5E5-4B84-8DD9-A7ADA0B72E44}" dt="2022-04-23T09:31:38.194" v="730" actId="20577"/>
          <ac:spMkLst>
            <pc:docMk/>
            <pc:sldMk cId="3853557247" sldId="592"/>
            <ac:spMk id="5" creationId="{B1886A4C-E9E4-4111-BFDC-F9784FD52406}"/>
          </ac:spMkLst>
        </pc:spChg>
        <pc:graphicFrameChg chg="add mod">
          <ac:chgData name="Thomas Stensitzki" userId="75cafe6b-2f2a-469b-85c4-eec3b9c972ba" providerId="ADAL" clId="{F2BB4D5E-E5E5-4B84-8DD9-A7ADA0B72E44}" dt="2022-04-23T09:47:24.905" v="1279" actId="255"/>
          <ac:graphicFrameMkLst>
            <pc:docMk/>
            <pc:sldMk cId="3853557247" sldId="592"/>
            <ac:graphicFrameMk id="7" creationId="{8E195FE2-4880-48CB-B868-BBA9AE33BDAC}"/>
          </ac:graphicFrameMkLst>
        </pc:graphicFrameChg>
        <pc:picChg chg="add mod">
          <ac:chgData name="Thomas Stensitzki" userId="75cafe6b-2f2a-469b-85c4-eec3b9c972ba" providerId="ADAL" clId="{F2BB4D5E-E5E5-4B84-8DD9-A7ADA0B72E44}" dt="2022-04-23T09:26:20.430" v="463" actId="1076"/>
          <ac:picMkLst>
            <pc:docMk/>
            <pc:sldMk cId="3853557247" sldId="592"/>
            <ac:picMk id="6" creationId="{CEA74D49-4C77-4349-BF8E-F89AAC8F4441}"/>
          </ac:picMkLst>
        </pc:picChg>
      </pc:sldChg>
      <pc:sldChg chg="del">
        <pc:chgData name="Thomas Stensitzki" userId="75cafe6b-2f2a-469b-85c4-eec3b9c972ba" providerId="ADAL" clId="{F2BB4D5E-E5E5-4B84-8DD9-A7ADA0B72E44}" dt="2022-04-19T12:23:51.426" v="124" actId="47"/>
        <pc:sldMkLst>
          <pc:docMk/>
          <pc:sldMk cId="1160737551" sldId="593"/>
        </pc:sldMkLst>
      </pc:sldChg>
      <pc:sldChg chg="addSp delSp modSp add mod ord modTransition modAnim">
        <pc:chgData name="Thomas Stensitzki" userId="75cafe6b-2f2a-469b-85c4-eec3b9c972ba" providerId="ADAL" clId="{F2BB4D5E-E5E5-4B84-8DD9-A7ADA0B72E44}" dt="2022-04-28T10:23:06.864" v="4306"/>
        <pc:sldMkLst>
          <pc:docMk/>
          <pc:sldMk cId="2298534792" sldId="593"/>
        </pc:sldMkLst>
        <pc:spChg chg="add del mod">
          <ac:chgData name="Thomas Stensitzki" userId="75cafe6b-2f2a-469b-85c4-eec3b9c972ba" providerId="ADAL" clId="{F2BB4D5E-E5E5-4B84-8DD9-A7ADA0B72E44}" dt="2022-04-23T09:33:36.115" v="747" actId="478"/>
          <ac:spMkLst>
            <pc:docMk/>
            <pc:sldMk cId="2298534792" sldId="593"/>
            <ac:spMk id="3" creationId="{2090C550-8C82-4B9B-8D88-7F36615A70EE}"/>
          </ac:spMkLst>
        </pc:spChg>
        <pc:spChg chg="mod">
          <ac:chgData name="Thomas Stensitzki" userId="75cafe6b-2f2a-469b-85c4-eec3b9c972ba" providerId="ADAL" clId="{F2BB4D5E-E5E5-4B84-8DD9-A7ADA0B72E44}" dt="2022-04-23T09:33:31.526" v="745" actId="20577"/>
          <ac:spMkLst>
            <pc:docMk/>
            <pc:sldMk cId="2298534792" sldId="593"/>
            <ac:spMk id="4" creationId="{041C0BDF-2374-4ACD-9289-35E2F2C5124D}"/>
          </ac:spMkLst>
        </pc:spChg>
        <pc:spChg chg="del">
          <ac:chgData name="Thomas Stensitzki" userId="75cafe6b-2f2a-469b-85c4-eec3b9c972ba" providerId="ADAL" clId="{F2BB4D5E-E5E5-4B84-8DD9-A7ADA0B72E44}" dt="2022-04-23T09:33:34.245" v="746" actId="478"/>
          <ac:spMkLst>
            <pc:docMk/>
            <pc:sldMk cId="2298534792" sldId="593"/>
            <ac:spMk id="5" creationId="{B1886A4C-E9E4-4111-BFDC-F9784FD52406}"/>
          </ac:spMkLst>
        </pc:spChg>
        <pc:graphicFrameChg chg="add mod modGraphic">
          <ac:chgData name="Thomas Stensitzki" userId="75cafe6b-2f2a-469b-85c4-eec3b9c972ba" providerId="ADAL" clId="{F2BB4D5E-E5E5-4B84-8DD9-A7ADA0B72E44}" dt="2022-04-23T09:46:19.893" v="1270" actId="207"/>
          <ac:graphicFrameMkLst>
            <pc:docMk/>
            <pc:sldMk cId="2298534792" sldId="593"/>
            <ac:graphicFrameMk id="6" creationId="{FE12EC38-BE45-436C-BBA0-59EECEE02FDE}"/>
          </ac:graphicFrameMkLst>
        </pc:graphicFrameChg>
      </pc:sldChg>
      <pc:sldChg chg="addSp modSp add mod ord modTransition modAnim">
        <pc:chgData name="Thomas Stensitzki" userId="75cafe6b-2f2a-469b-85c4-eec3b9c972ba" providerId="ADAL" clId="{F2BB4D5E-E5E5-4B84-8DD9-A7ADA0B72E44}" dt="2022-04-28T10:23:48.597" v="4310"/>
        <pc:sldMkLst>
          <pc:docMk/>
          <pc:sldMk cId="166762484" sldId="594"/>
        </pc:sldMkLst>
        <pc:spChg chg="mod">
          <ac:chgData name="Thomas Stensitzki" userId="75cafe6b-2f2a-469b-85c4-eec3b9c972ba" providerId="ADAL" clId="{F2BB4D5E-E5E5-4B84-8DD9-A7ADA0B72E44}" dt="2022-04-23T09:38:24.976" v="1076" actId="20577"/>
          <ac:spMkLst>
            <pc:docMk/>
            <pc:sldMk cId="166762484" sldId="594"/>
            <ac:spMk id="4" creationId="{041C0BDF-2374-4ACD-9289-35E2F2C5124D}"/>
          </ac:spMkLst>
        </pc:spChg>
        <pc:spChg chg="mod">
          <ac:chgData name="Thomas Stensitzki" userId="75cafe6b-2f2a-469b-85c4-eec3b9c972ba" providerId="ADAL" clId="{F2BB4D5E-E5E5-4B84-8DD9-A7ADA0B72E44}" dt="2022-04-23T09:42:20.878" v="1239" actId="20577"/>
          <ac:spMkLst>
            <pc:docMk/>
            <pc:sldMk cId="166762484" sldId="594"/>
            <ac:spMk id="5" creationId="{B1886A4C-E9E4-4111-BFDC-F9784FD52406}"/>
          </ac:spMkLst>
        </pc:spChg>
        <pc:graphicFrameChg chg="add mod">
          <ac:chgData name="Thomas Stensitzki" userId="75cafe6b-2f2a-469b-85c4-eec3b9c972ba" providerId="ADAL" clId="{F2BB4D5E-E5E5-4B84-8DD9-A7ADA0B72E44}" dt="2022-04-28T10:23:32.162" v="4308" actId="20577"/>
          <ac:graphicFrameMkLst>
            <pc:docMk/>
            <pc:sldMk cId="166762484" sldId="594"/>
            <ac:graphicFrameMk id="6" creationId="{E0427C03-BC88-4F0C-9059-80A1E40C7D42}"/>
          </ac:graphicFrameMkLst>
        </pc:graphicFrameChg>
      </pc:sldChg>
      <pc:sldChg chg="del">
        <pc:chgData name="Thomas Stensitzki" userId="75cafe6b-2f2a-469b-85c4-eec3b9c972ba" providerId="ADAL" clId="{F2BB4D5E-E5E5-4B84-8DD9-A7ADA0B72E44}" dt="2022-04-19T12:23:51.426" v="124" actId="47"/>
        <pc:sldMkLst>
          <pc:docMk/>
          <pc:sldMk cId="3620025916" sldId="594"/>
        </pc:sldMkLst>
      </pc:sldChg>
      <pc:sldChg chg="del">
        <pc:chgData name="Thomas Stensitzki" userId="75cafe6b-2f2a-469b-85c4-eec3b9c972ba" providerId="ADAL" clId="{F2BB4D5E-E5E5-4B84-8DD9-A7ADA0B72E44}" dt="2022-04-19T12:23:51.426" v="124" actId="47"/>
        <pc:sldMkLst>
          <pc:docMk/>
          <pc:sldMk cId="2243482533" sldId="595"/>
        </pc:sldMkLst>
      </pc:sldChg>
      <pc:sldChg chg="addSp delSp modSp add mod ord modTransition modAnim">
        <pc:chgData name="Thomas Stensitzki" userId="75cafe6b-2f2a-469b-85c4-eec3b9c972ba" providerId="ADAL" clId="{F2BB4D5E-E5E5-4B84-8DD9-A7ADA0B72E44}" dt="2022-04-28T10:22:18.488" v="4301"/>
        <pc:sldMkLst>
          <pc:docMk/>
          <pc:sldMk cId="2680249750" sldId="595"/>
        </pc:sldMkLst>
        <pc:spChg chg="add mod">
          <ac:chgData name="Thomas Stensitzki" userId="75cafe6b-2f2a-469b-85c4-eec3b9c972ba" providerId="ADAL" clId="{F2BB4D5E-E5E5-4B84-8DD9-A7ADA0B72E44}" dt="2022-04-28T10:21:58.399" v="4298" actId="164"/>
          <ac:spMkLst>
            <pc:docMk/>
            <pc:sldMk cId="2680249750" sldId="595"/>
            <ac:spMk id="2" creationId="{0305ABD0-F4F3-40B3-888E-96AF71CB1DA6}"/>
          </ac:spMkLst>
        </pc:spChg>
        <pc:spChg chg="add del mod">
          <ac:chgData name="Thomas Stensitzki" userId="75cafe6b-2f2a-469b-85c4-eec3b9c972ba" providerId="ADAL" clId="{F2BB4D5E-E5E5-4B84-8DD9-A7ADA0B72E44}" dt="2022-04-23T09:49:06.472" v="1284" actId="478"/>
          <ac:spMkLst>
            <pc:docMk/>
            <pc:sldMk cId="2680249750" sldId="595"/>
            <ac:spMk id="3" creationId="{61FBAB31-FA48-4D31-9459-197C2344446C}"/>
          </ac:spMkLst>
        </pc:spChg>
        <pc:spChg chg="del">
          <ac:chgData name="Thomas Stensitzki" userId="75cafe6b-2f2a-469b-85c4-eec3b9c972ba" providerId="ADAL" clId="{F2BB4D5E-E5E5-4B84-8DD9-A7ADA0B72E44}" dt="2022-04-23T09:49:03.774" v="1283" actId="478"/>
          <ac:spMkLst>
            <pc:docMk/>
            <pc:sldMk cId="2680249750" sldId="595"/>
            <ac:spMk id="5" creationId="{B1886A4C-E9E4-4111-BFDC-F9784FD52406}"/>
          </ac:spMkLst>
        </pc:spChg>
        <pc:spChg chg="add mod">
          <ac:chgData name="Thomas Stensitzki" userId="75cafe6b-2f2a-469b-85c4-eec3b9c972ba" providerId="ADAL" clId="{F2BB4D5E-E5E5-4B84-8DD9-A7ADA0B72E44}" dt="2022-04-24T09:18:44.485" v="2234" actId="1036"/>
          <ac:spMkLst>
            <pc:docMk/>
            <pc:sldMk cId="2680249750" sldId="595"/>
            <ac:spMk id="6" creationId="{03D53420-11EA-4D1B-9F13-CC90F632184E}"/>
          </ac:spMkLst>
        </pc:spChg>
        <pc:spChg chg="add mod">
          <ac:chgData name="Thomas Stensitzki" userId="75cafe6b-2f2a-469b-85c4-eec3b9c972ba" providerId="ADAL" clId="{F2BB4D5E-E5E5-4B84-8DD9-A7ADA0B72E44}" dt="2022-04-24T09:18:44.485" v="2234" actId="1036"/>
          <ac:spMkLst>
            <pc:docMk/>
            <pc:sldMk cId="2680249750" sldId="595"/>
            <ac:spMk id="7" creationId="{36EC7950-C586-452E-8736-1D139437B0BE}"/>
          </ac:spMkLst>
        </pc:spChg>
        <pc:spChg chg="add del mod">
          <ac:chgData name="Thomas Stensitzki" userId="75cafe6b-2f2a-469b-85c4-eec3b9c972ba" providerId="ADAL" clId="{F2BB4D5E-E5E5-4B84-8DD9-A7ADA0B72E44}" dt="2022-04-23T09:51:11.853" v="1339"/>
          <ac:spMkLst>
            <pc:docMk/>
            <pc:sldMk cId="2680249750" sldId="595"/>
            <ac:spMk id="8" creationId="{DC279190-4CB6-480E-AF96-2086CE4B6E5E}"/>
          </ac:spMkLst>
        </pc:spChg>
        <pc:spChg chg="add mod">
          <ac:chgData name="Thomas Stensitzki" userId="75cafe6b-2f2a-469b-85c4-eec3b9c972ba" providerId="ADAL" clId="{F2BB4D5E-E5E5-4B84-8DD9-A7ADA0B72E44}" dt="2022-04-24T09:18:44.485" v="2234" actId="1036"/>
          <ac:spMkLst>
            <pc:docMk/>
            <pc:sldMk cId="2680249750" sldId="595"/>
            <ac:spMk id="9" creationId="{183E4717-94DF-47D2-9915-B0740BADCA26}"/>
          </ac:spMkLst>
        </pc:spChg>
        <pc:spChg chg="add mod">
          <ac:chgData name="Thomas Stensitzki" userId="75cafe6b-2f2a-469b-85c4-eec3b9c972ba" providerId="ADAL" clId="{F2BB4D5E-E5E5-4B84-8DD9-A7ADA0B72E44}" dt="2022-04-24T09:18:44.485" v="2234" actId="1036"/>
          <ac:spMkLst>
            <pc:docMk/>
            <pc:sldMk cId="2680249750" sldId="595"/>
            <ac:spMk id="10" creationId="{8A0EDB2A-C407-4ACD-AABF-052E3018BAAE}"/>
          </ac:spMkLst>
        </pc:spChg>
        <pc:spChg chg="add del mod">
          <ac:chgData name="Thomas Stensitzki" userId="75cafe6b-2f2a-469b-85c4-eec3b9c972ba" providerId="ADAL" clId="{F2BB4D5E-E5E5-4B84-8DD9-A7ADA0B72E44}" dt="2022-04-24T09:13:03.995" v="1861" actId="478"/>
          <ac:spMkLst>
            <pc:docMk/>
            <pc:sldMk cId="2680249750" sldId="595"/>
            <ac:spMk id="12" creationId="{201D08FE-49C1-4893-90AF-1C661654B5B8}"/>
          </ac:spMkLst>
        </pc:spChg>
        <pc:spChg chg="add mod">
          <ac:chgData name="Thomas Stensitzki" userId="75cafe6b-2f2a-469b-85c4-eec3b9c972ba" providerId="ADAL" clId="{F2BB4D5E-E5E5-4B84-8DD9-A7ADA0B72E44}" dt="2022-04-24T09:20:03.658" v="2321" actId="20577"/>
          <ac:spMkLst>
            <pc:docMk/>
            <pc:sldMk cId="2680249750" sldId="595"/>
            <ac:spMk id="13" creationId="{5436A935-FA84-4846-93E7-93CEFA5AC377}"/>
          </ac:spMkLst>
        </pc:spChg>
        <pc:spChg chg="add mod">
          <ac:chgData name="Thomas Stensitzki" userId="75cafe6b-2f2a-469b-85c4-eec3b9c972ba" providerId="ADAL" clId="{F2BB4D5E-E5E5-4B84-8DD9-A7ADA0B72E44}" dt="2022-04-24T09:19:22.972" v="2289" actId="20577"/>
          <ac:spMkLst>
            <pc:docMk/>
            <pc:sldMk cId="2680249750" sldId="595"/>
            <ac:spMk id="14" creationId="{ED18F35C-CF61-4A9F-B2C4-B61A27B06582}"/>
          </ac:spMkLst>
        </pc:spChg>
        <pc:grpChg chg="add mod">
          <ac:chgData name="Thomas Stensitzki" userId="75cafe6b-2f2a-469b-85c4-eec3b9c972ba" providerId="ADAL" clId="{F2BB4D5E-E5E5-4B84-8DD9-A7ADA0B72E44}" dt="2022-04-28T10:21:58.399" v="4298" actId="164"/>
          <ac:grpSpMkLst>
            <pc:docMk/>
            <pc:sldMk cId="2680249750" sldId="595"/>
            <ac:grpSpMk id="3" creationId="{1B6F79AA-927D-43E6-A2D1-0ADCE97350FB}"/>
          </ac:grpSpMkLst>
        </pc:grpChg>
        <pc:graphicFrameChg chg="add mod modGraphic">
          <ac:chgData name="Thomas Stensitzki" userId="75cafe6b-2f2a-469b-85c4-eec3b9c972ba" providerId="ADAL" clId="{F2BB4D5E-E5E5-4B84-8DD9-A7ADA0B72E44}" dt="2022-04-28T10:21:58.399" v="4298" actId="164"/>
          <ac:graphicFrameMkLst>
            <pc:docMk/>
            <pc:sldMk cId="2680249750" sldId="595"/>
            <ac:graphicFrameMk id="11" creationId="{9F43C456-1D14-46BE-935A-666D21EDBB94}"/>
          </ac:graphicFrameMkLst>
        </pc:graphicFrameChg>
      </pc:sldChg>
      <pc:sldChg chg="modSp add mod ord modTransition">
        <pc:chgData name="Thomas Stensitzki" userId="75cafe6b-2f2a-469b-85c4-eec3b9c972ba" providerId="ADAL" clId="{F2BB4D5E-E5E5-4B84-8DD9-A7ADA0B72E44}" dt="2022-04-24T09:40:00.182" v="3780"/>
        <pc:sldMkLst>
          <pc:docMk/>
          <pc:sldMk cId="1109434383" sldId="596"/>
        </pc:sldMkLst>
        <pc:spChg chg="mod">
          <ac:chgData name="Thomas Stensitzki" userId="75cafe6b-2f2a-469b-85c4-eec3b9c972ba" providerId="ADAL" clId="{F2BB4D5E-E5E5-4B84-8DD9-A7ADA0B72E44}" dt="2022-04-23T09:56:57.517" v="1429" actId="20577"/>
          <ac:spMkLst>
            <pc:docMk/>
            <pc:sldMk cId="1109434383" sldId="596"/>
            <ac:spMk id="4" creationId="{041C0BDF-2374-4ACD-9289-35E2F2C5124D}"/>
          </ac:spMkLst>
        </pc:spChg>
        <pc:spChg chg="mod">
          <ac:chgData name="Thomas Stensitzki" userId="75cafe6b-2f2a-469b-85c4-eec3b9c972ba" providerId="ADAL" clId="{F2BB4D5E-E5E5-4B84-8DD9-A7ADA0B72E44}" dt="2022-04-23T09:57:01.592" v="1430" actId="20577"/>
          <ac:spMkLst>
            <pc:docMk/>
            <pc:sldMk cId="1109434383" sldId="596"/>
            <ac:spMk id="5" creationId="{B1886A4C-E9E4-4111-BFDC-F9784FD52406}"/>
          </ac:spMkLst>
        </pc:spChg>
      </pc:sldChg>
      <pc:sldChg chg="del">
        <pc:chgData name="Thomas Stensitzki" userId="75cafe6b-2f2a-469b-85c4-eec3b9c972ba" providerId="ADAL" clId="{F2BB4D5E-E5E5-4B84-8DD9-A7ADA0B72E44}" dt="2022-04-19T12:23:51.426" v="124" actId="47"/>
        <pc:sldMkLst>
          <pc:docMk/>
          <pc:sldMk cId="3273231213" sldId="596"/>
        </pc:sldMkLst>
      </pc:sldChg>
      <pc:sldChg chg="modSp mod modTransition">
        <pc:chgData name="Thomas Stensitzki" userId="75cafe6b-2f2a-469b-85c4-eec3b9c972ba" providerId="ADAL" clId="{F2BB4D5E-E5E5-4B84-8DD9-A7ADA0B72E44}" dt="2022-04-24T09:40:00.182" v="3780"/>
        <pc:sldMkLst>
          <pc:docMk/>
          <pc:sldMk cId="2098288780" sldId="597"/>
        </pc:sldMkLst>
        <pc:spChg chg="mod">
          <ac:chgData name="Thomas Stensitzki" userId="75cafe6b-2f2a-469b-85c4-eec3b9c972ba" providerId="ADAL" clId="{F2BB4D5E-E5E5-4B84-8DD9-A7ADA0B72E44}" dt="2022-04-24T09:20:56.838" v="2361" actId="20577"/>
          <ac:spMkLst>
            <pc:docMk/>
            <pc:sldMk cId="2098288780" sldId="597"/>
            <ac:spMk id="2" creationId="{42DA031A-C25A-9457-35EB-F99DDD69A1A1}"/>
          </ac:spMkLst>
        </pc:spChg>
        <pc:spChg chg="mod">
          <ac:chgData name="Thomas Stensitzki" userId="75cafe6b-2f2a-469b-85c4-eec3b9c972ba" providerId="ADAL" clId="{F2BB4D5E-E5E5-4B84-8DD9-A7ADA0B72E44}" dt="2022-04-24T09:01:42.525" v="1431" actId="790"/>
          <ac:spMkLst>
            <pc:docMk/>
            <pc:sldMk cId="2098288780" sldId="597"/>
            <ac:spMk id="3" creationId="{26C8DA23-4FF8-3D58-B509-BFFD25A330F7}"/>
          </ac:spMkLst>
        </pc:spChg>
      </pc:sldChg>
      <pc:sldChg chg="del">
        <pc:chgData name="Thomas Stensitzki" userId="75cafe6b-2f2a-469b-85c4-eec3b9c972ba" providerId="ADAL" clId="{F2BB4D5E-E5E5-4B84-8DD9-A7ADA0B72E44}" dt="2022-04-19T12:23:51.426" v="124" actId="47"/>
        <pc:sldMkLst>
          <pc:docMk/>
          <pc:sldMk cId="3646966063" sldId="597"/>
        </pc:sldMkLst>
      </pc:sldChg>
      <pc:sldChg chg="modSp mod modTransition">
        <pc:chgData name="Thomas Stensitzki" userId="75cafe6b-2f2a-469b-85c4-eec3b9c972ba" providerId="ADAL" clId="{F2BB4D5E-E5E5-4B84-8DD9-A7ADA0B72E44}" dt="2022-04-24T09:40:00.182" v="3780"/>
        <pc:sldMkLst>
          <pc:docMk/>
          <pc:sldMk cId="2122712351" sldId="598"/>
        </pc:sldMkLst>
        <pc:spChg chg="mod">
          <ac:chgData name="Thomas Stensitzki" userId="75cafe6b-2f2a-469b-85c4-eec3b9c972ba" providerId="ADAL" clId="{F2BB4D5E-E5E5-4B84-8DD9-A7ADA0B72E44}" dt="2022-04-24T09:09:14.024" v="1603" actId="790"/>
          <ac:spMkLst>
            <pc:docMk/>
            <pc:sldMk cId="2122712351" sldId="598"/>
            <ac:spMk id="2" creationId="{1BC691DD-DCF8-E22A-F993-2C3F954C9BA6}"/>
          </ac:spMkLst>
        </pc:spChg>
        <pc:spChg chg="mod">
          <ac:chgData name="Thomas Stensitzki" userId="75cafe6b-2f2a-469b-85c4-eec3b9c972ba" providerId="ADAL" clId="{F2BB4D5E-E5E5-4B84-8DD9-A7ADA0B72E44}" dt="2022-04-24T09:11:03.792" v="1816" actId="20577"/>
          <ac:spMkLst>
            <pc:docMk/>
            <pc:sldMk cId="2122712351" sldId="598"/>
            <ac:spMk id="3" creationId="{A854A4AE-7847-857F-6D74-A4294BB78EE3}"/>
          </ac:spMkLst>
        </pc:spChg>
      </pc:sldChg>
      <pc:sldChg chg="del">
        <pc:chgData name="Thomas Stensitzki" userId="75cafe6b-2f2a-469b-85c4-eec3b9c972ba" providerId="ADAL" clId="{F2BB4D5E-E5E5-4B84-8DD9-A7ADA0B72E44}" dt="2022-04-19T12:23:51.426" v="124" actId="47"/>
        <pc:sldMkLst>
          <pc:docMk/>
          <pc:sldMk cId="2538300061" sldId="598"/>
        </pc:sldMkLst>
      </pc:sldChg>
      <pc:sldChg chg="modSp add mod modTransition">
        <pc:chgData name="Thomas Stensitzki" userId="75cafe6b-2f2a-469b-85c4-eec3b9c972ba" providerId="ADAL" clId="{F2BB4D5E-E5E5-4B84-8DD9-A7ADA0B72E44}" dt="2022-04-24T09:40:00.182" v="3780"/>
        <pc:sldMkLst>
          <pc:docMk/>
          <pc:sldMk cId="1914820320" sldId="599"/>
        </pc:sldMkLst>
        <pc:spChg chg="mod">
          <ac:chgData name="Thomas Stensitzki" userId="75cafe6b-2f2a-469b-85c4-eec3b9c972ba" providerId="ADAL" clId="{F2BB4D5E-E5E5-4B84-8DD9-A7ADA0B72E44}" dt="2022-04-24T09:08:35.906" v="1600" actId="20577"/>
          <ac:spMkLst>
            <pc:docMk/>
            <pc:sldMk cId="1914820320" sldId="599"/>
            <ac:spMk id="2" creationId="{1BC691DD-DCF8-E22A-F993-2C3F954C9BA6}"/>
          </ac:spMkLst>
        </pc:spChg>
        <pc:spChg chg="mod">
          <ac:chgData name="Thomas Stensitzki" userId="75cafe6b-2f2a-469b-85c4-eec3b9c972ba" providerId="ADAL" clId="{F2BB4D5E-E5E5-4B84-8DD9-A7ADA0B72E44}" dt="2022-04-24T09:25:14.890" v="2635" actId="20577"/>
          <ac:spMkLst>
            <pc:docMk/>
            <pc:sldMk cId="1914820320" sldId="599"/>
            <ac:spMk id="3" creationId="{A854A4AE-7847-857F-6D74-A4294BB78EE3}"/>
          </ac:spMkLst>
        </pc:spChg>
      </pc:sldChg>
      <pc:sldChg chg="del">
        <pc:chgData name="Thomas Stensitzki" userId="75cafe6b-2f2a-469b-85c4-eec3b9c972ba" providerId="ADAL" clId="{F2BB4D5E-E5E5-4B84-8DD9-A7ADA0B72E44}" dt="2022-04-19T12:23:51.426" v="124" actId="47"/>
        <pc:sldMkLst>
          <pc:docMk/>
          <pc:sldMk cId="2905309205" sldId="599"/>
        </pc:sldMkLst>
      </pc:sldChg>
      <pc:sldChg chg="del">
        <pc:chgData name="Thomas Stensitzki" userId="75cafe6b-2f2a-469b-85c4-eec3b9c972ba" providerId="ADAL" clId="{F2BB4D5E-E5E5-4B84-8DD9-A7ADA0B72E44}" dt="2022-04-19T12:23:51.426" v="124" actId="47"/>
        <pc:sldMkLst>
          <pc:docMk/>
          <pc:sldMk cId="2549681173" sldId="600"/>
        </pc:sldMkLst>
      </pc:sldChg>
      <pc:sldChg chg="addSp delSp modSp add mod modTransition modAnim">
        <pc:chgData name="Thomas Stensitzki" userId="75cafe6b-2f2a-469b-85c4-eec3b9c972ba" providerId="ADAL" clId="{F2BB4D5E-E5E5-4B84-8DD9-A7ADA0B72E44}" dt="2022-04-28T17:04:34.292" v="4323" actId="20577"/>
        <pc:sldMkLst>
          <pc:docMk/>
          <pc:sldMk cId="3219683340" sldId="600"/>
        </pc:sldMkLst>
        <pc:spChg chg="mod">
          <ac:chgData name="Thomas Stensitzki" userId="75cafe6b-2f2a-469b-85c4-eec3b9c972ba" providerId="ADAL" clId="{F2BB4D5E-E5E5-4B84-8DD9-A7ADA0B72E44}" dt="2022-04-24T09:20:49.683" v="2351" actId="20577"/>
          <ac:spMkLst>
            <pc:docMk/>
            <pc:sldMk cId="3219683340" sldId="600"/>
            <ac:spMk id="2" creationId="{42DA031A-C25A-9457-35EB-F99DDD69A1A1}"/>
          </ac:spMkLst>
        </pc:spChg>
        <pc:spChg chg="mod">
          <ac:chgData name="Thomas Stensitzki" userId="75cafe6b-2f2a-469b-85c4-eec3b9c972ba" providerId="ADAL" clId="{F2BB4D5E-E5E5-4B84-8DD9-A7ADA0B72E44}" dt="2022-04-24T09:27:28.247" v="2835" actId="20577"/>
          <ac:spMkLst>
            <pc:docMk/>
            <pc:sldMk cId="3219683340" sldId="600"/>
            <ac:spMk id="3" creationId="{26C8DA23-4FF8-3D58-B509-BFFD25A330F7}"/>
          </ac:spMkLst>
        </pc:spChg>
        <pc:spChg chg="add mod">
          <ac:chgData name="Thomas Stensitzki" userId="75cafe6b-2f2a-469b-85c4-eec3b9c972ba" providerId="ADAL" clId="{F2BB4D5E-E5E5-4B84-8DD9-A7ADA0B72E44}" dt="2022-04-26T16:08:42.422" v="3885" actId="113"/>
          <ac:spMkLst>
            <pc:docMk/>
            <pc:sldMk cId="3219683340" sldId="600"/>
            <ac:spMk id="18" creationId="{FDB045ED-2681-481D-8BBB-0339D5F1B98E}"/>
          </ac:spMkLst>
        </pc:spChg>
        <pc:spChg chg="add mod">
          <ac:chgData name="Thomas Stensitzki" userId="75cafe6b-2f2a-469b-85c4-eec3b9c972ba" providerId="ADAL" clId="{F2BB4D5E-E5E5-4B84-8DD9-A7ADA0B72E44}" dt="2022-04-26T16:11:05.177" v="3915" actId="1076"/>
          <ac:spMkLst>
            <pc:docMk/>
            <pc:sldMk cId="3219683340" sldId="600"/>
            <ac:spMk id="29" creationId="{D2DABD96-B1CE-4872-A5A0-009CFD4E1BC2}"/>
          </ac:spMkLst>
        </pc:spChg>
        <pc:spChg chg="add mod">
          <ac:chgData name="Thomas Stensitzki" userId="75cafe6b-2f2a-469b-85c4-eec3b9c972ba" providerId="ADAL" clId="{F2BB4D5E-E5E5-4B84-8DD9-A7ADA0B72E44}" dt="2022-04-26T16:12:52.700" v="3967" actId="1076"/>
          <ac:spMkLst>
            <pc:docMk/>
            <pc:sldMk cId="3219683340" sldId="600"/>
            <ac:spMk id="37" creationId="{EE080D15-584F-461D-967A-C749B5321AE9}"/>
          </ac:spMkLst>
        </pc:spChg>
        <pc:spChg chg="add mod">
          <ac:chgData name="Thomas Stensitzki" userId="75cafe6b-2f2a-469b-85c4-eec3b9c972ba" providerId="ADAL" clId="{F2BB4D5E-E5E5-4B84-8DD9-A7ADA0B72E44}" dt="2022-04-28T17:04:34.292" v="4323" actId="20577"/>
          <ac:spMkLst>
            <pc:docMk/>
            <pc:sldMk cId="3219683340" sldId="600"/>
            <ac:spMk id="38" creationId="{49475427-8FDB-4757-B791-1CEB498582EC}"/>
          </ac:spMkLst>
        </pc:spChg>
        <pc:spChg chg="add mod">
          <ac:chgData name="Thomas Stensitzki" userId="75cafe6b-2f2a-469b-85c4-eec3b9c972ba" providerId="ADAL" clId="{F2BB4D5E-E5E5-4B84-8DD9-A7ADA0B72E44}" dt="2022-04-26T16:31:49.342" v="4137" actId="1036"/>
          <ac:spMkLst>
            <pc:docMk/>
            <pc:sldMk cId="3219683340" sldId="600"/>
            <ac:spMk id="39" creationId="{1AD36E6D-E52B-4438-9D5C-0D8A9391F67D}"/>
          </ac:spMkLst>
        </pc:spChg>
        <pc:spChg chg="add del mod">
          <ac:chgData name="Thomas Stensitzki" userId="75cafe6b-2f2a-469b-85c4-eec3b9c972ba" providerId="ADAL" clId="{F2BB4D5E-E5E5-4B84-8DD9-A7ADA0B72E44}" dt="2022-04-26T16:15:02.071" v="4028" actId="478"/>
          <ac:spMkLst>
            <pc:docMk/>
            <pc:sldMk cId="3219683340" sldId="600"/>
            <ac:spMk id="40" creationId="{13C8E47B-71DE-48EA-BC7F-6D61DA2E9505}"/>
          </ac:spMkLst>
        </pc:spChg>
        <pc:picChg chg="add mod">
          <ac:chgData name="Thomas Stensitzki" userId="75cafe6b-2f2a-469b-85c4-eec3b9c972ba" providerId="ADAL" clId="{F2BB4D5E-E5E5-4B84-8DD9-A7ADA0B72E44}" dt="2022-04-26T16:31:46.083" v="4136" actId="1076"/>
          <ac:picMkLst>
            <pc:docMk/>
            <pc:sldMk cId="3219683340" sldId="600"/>
            <ac:picMk id="5" creationId="{52C17E62-62C2-4B6E-86D0-CD6B4B3C6000}"/>
          </ac:picMkLst>
        </pc:picChg>
        <pc:picChg chg="add mod">
          <ac:chgData name="Thomas Stensitzki" userId="75cafe6b-2f2a-469b-85c4-eec3b9c972ba" providerId="ADAL" clId="{F2BB4D5E-E5E5-4B84-8DD9-A7ADA0B72E44}" dt="2022-04-26T16:10:06.885" v="3897" actId="1076"/>
          <ac:picMkLst>
            <pc:docMk/>
            <pc:sldMk cId="3219683340" sldId="600"/>
            <ac:picMk id="10" creationId="{E06AFBDC-4342-4723-B07C-85B0BDA87245}"/>
          </ac:picMkLst>
        </pc:picChg>
        <pc:picChg chg="add mod">
          <ac:chgData name="Thomas Stensitzki" userId="75cafe6b-2f2a-469b-85c4-eec3b9c972ba" providerId="ADAL" clId="{F2BB4D5E-E5E5-4B84-8DD9-A7ADA0B72E44}" dt="2022-04-26T16:08:05.774" v="3855" actId="1036"/>
          <ac:picMkLst>
            <pc:docMk/>
            <pc:sldMk cId="3219683340" sldId="600"/>
            <ac:picMk id="12" creationId="{5E5EC498-0101-4C86-9E53-C81AA49E093C}"/>
          </ac:picMkLst>
        </pc:picChg>
        <pc:picChg chg="add mod">
          <ac:chgData name="Thomas Stensitzki" userId="75cafe6b-2f2a-469b-85c4-eec3b9c972ba" providerId="ADAL" clId="{F2BB4D5E-E5E5-4B84-8DD9-A7ADA0B72E44}" dt="2022-04-26T16:08:05.774" v="3855" actId="1036"/>
          <ac:picMkLst>
            <pc:docMk/>
            <pc:sldMk cId="3219683340" sldId="600"/>
            <ac:picMk id="13" creationId="{FFAC5EDB-2A19-4E38-A455-9501E594F3A5}"/>
          </ac:picMkLst>
        </pc:picChg>
        <pc:picChg chg="add mod ord">
          <ac:chgData name="Thomas Stensitzki" userId="75cafe6b-2f2a-469b-85c4-eec3b9c972ba" providerId="ADAL" clId="{F2BB4D5E-E5E5-4B84-8DD9-A7ADA0B72E44}" dt="2022-04-26T16:11:18.612" v="3919" actId="1076"/>
          <ac:picMkLst>
            <pc:docMk/>
            <pc:sldMk cId="3219683340" sldId="600"/>
            <ac:picMk id="15" creationId="{AA7863BC-88E9-4263-B10B-5101AA1FD56E}"/>
          </ac:picMkLst>
        </pc:picChg>
        <pc:picChg chg="add mod">
          <ac:chgData name="Thomas Stensitzki" userId="75cafe6b-2f2a-469b-85c4-eec3b9c972ba" providerId="ADAL" clId="{F2BB4D5E-E5E5-4B84-8DD9-A7ADA0B72E44}" dt="2022-04-26T16:11:27.848" v="3920" actId="1076"/>
          <ac:picMkLst>
            <pc:docMk/>
            <pc:sldMk cId="3219683340" sldId="600"/>
            <ac:picMk id="17" creationId="{C9E57623-EEB5-47C8-8F2F-DD87A118B7B5}"/>
          </ac:picMkLst>
        </pc:picChg>
        <pc:picChg chg="add mod">
          <ac:chgData name="Thomas Stensitzki" userId="75cafe6b-2f2a-469b-85c4-eec3b9c972ba" providerId="ADAL" clId="{F2BB4D5E-E5E5-4B84-8DD9-A7ADA0B72E44}" dt="2022-04-26T16:10:11.545" v="3908" actId="1036"/>
          <ac:picMkLst>
            <pc:docMk/>
            <pc:sldMk cId="3219683340" sldId="600"/>
            <ac:picMk id="22" creationId="{EF0DC9B3-DBD4-4BDF-94AD-472B2754B9BF}"/>
          </ac:picMkLst>
        </pc:picChg>
        <pc:picChg chg="add mod">
          <ac:chgData name="Thomas Stensitzki" userId="75cafe6b-2f2a-469b-85c4-eec3b9c972ba" providerId="ADAL" clId="{F2BB4D5E-E5E5-4B84-8DD9-A7ADA0B72E44}" dt="2022-04-26T16:11:40.300" v="3922" actId="1076"/>
          <ac:picMkLst>
            <pc:docMk/>
            <pc:sldMk cId="3219683340" sldId="600"/>
            <ac:picMk id="31" creationId="{610E0D5C-D285-4EE7-98BD-6CE5FA364D82}"/>
          </ac:picMkLst>
        </pc:picChg>
        <pc:picChg chg="add mod">
          <ac:chgData name="Thomas Stensitzki" userId="75cafe6b-2f2a-469b-85c4-eec3b9c972ba" providerId="ADAL" clId="{F2BB4D5E-E5E5-4B84-8DD9-A7ADA0B72E44}" dt="2022-04-26T16:11:46.159" v="3924" actId="1076"/>
          <ac:picMkLst>
            <pc:docMk/>
            <pc:sldMk cId="3219683340" sldId="600"/>
            <ac:picMk id="32" creationId="{18B07C87-7953-45F8-9C75-BDC8022C9ADD}"/>
          </ac:picMkLst>
        </pc:picChg>
        <pc:picChg chg="add mod">
          <ac:chgData name="Thomas Stensitzki" userId="75cafe6b-2f2a-469b-85c4-eec3b9c972ba" providerId="ADAL" clId="{F2BB4D5E-E5E5-4B84-8DD9-A7ADA0B72E44}" dt="2022-04-26T16:12:05.420" v="3926" actId="1076"/>
          <ac:picMkLst>
            <pc:docMk/>
            <pc:sldMk cId="3219683340" sldId="600"/>
            <ac:picMk id="33" creationId="{DF6D5843-3474-443F-969C-A0FC232D3FCC}"/>
          </ac:picMkLst>
        </pc:picChg>
        <pc:picChg chg="add mod">
          <ac:chgData name="Thomas Stensitzki" userId="75cafe6b-2f2a-469b-85c4-eec3b9c972ba" providerId="ADAL" clId="{F2BB4D5E-E5E5-4B84-8DD9-A7ADA0B72E44}" dt="2022-04-26T16:20:34.383" v="4049" actId="1076"/>
          <ac:picMkLst>
            <pc:docMk/>
            <pc:sldMk cId="3219683340" sldId="600"/>
            <ac:picMk id="42" creationId="{B459E22E-519F-436D-A34C-9FD7F69EEF6B}"/>
          </ac:picMkLst>
        </pc:picChg>
        <pc:picChg chg="add mod">
          <ac:chgData name="Thomas Stensitzki" userId="75cafe6b-2f2a-469b-85c4-eec3b9c972ba" providerId="ADAL" clId="{F2BB4D5E-E5E5-4B84-8DD9-A7ADA0B72E44}" dt="2022-04-26T16:29:08.914" v="4052" actId="1076"/>
          <ac:picMkLst>
            <pc:docMk/>
            <pc:sldMk cId="3219683340" sldId="600"/>
            <ac:picMk id="44" creationId="{D6762ACE-9B89-4EEE-94DC-33317C79FAC5}"/>
          </ac:picMkLst>
        </pc:picChg>
        <pc:picChg chg="add mod">
          <ac:chgData name="Thomas Stensitzki" userId="75cafe6b-2f2a-469b-85c4-eec3b9c972ba" providerId="ADAL" clId="{F2BB4D5E-E5E5-4B84-8DD9-A7ADA0B72E44}" dt="2022-04-26T16:30:40.388" v="4128" actId="1076"/>
          <ac:picMkLst>
            <pc:docMk/>
            <pc:sldMk cId="3219683340" sldId="600"/>
            <ac:picMk id="46" creationId="{379292BE-A069-41D6-91EE-DB566DBD9729}"/>
          </ac:picMkLst>
        </pc:picChg>
        <pc:picChg chg="add mod">
          <ac:chgData name="Thomas Stensitzki" userId="75cafe6b-2f2a-469b-85c4-eec3b9c972ba" providerId="ADAL" clId="{F2BB4D5E-E5E5-4B84-8DD9-A7ADA0B72E44}" dt="2022-04-26T16:31:21.970" v="4131" actId="1076"/>
          <ac:picMkLst>
            <pc:docMk/>
            <pc:sldMk cId="3219683340" sldId="600"/>
            <ac:picMk id="48" creationId="{4B1566AC-B7DD-4B3E-AA51-E72E150F462E}"/>
          </ac:picMkLst>
        </pc:picChg>
        <pc:cxnChg chg="add mod">
          <ac:chgData name="Thomas Stensitzki" userId="75cafe6b-2f2a-469b-85c4-eec3b9c972ba" providerId="ADAL" clId="{F2BB4D5E-E5E5-4B84-8DD9-A7ADA0B72E44}" dt="2022-04-26T16:10:06.885" v="3897" actId="1076"/>
          <ac:cxnSpMkLst>
            <pc:docMk/>
            <pc:sldMk cId="3219683340" sldId="600"/>
            <ac:cxnSpMk id="20" creationId="{3F4C711B-3BF8-4242-8089-B99CD41EDA3A}"/>
          </ac:cxnSpMkLst>
        </pc:cxnChg>
        <pc:cxnChg chg="add mod">
          <ac:chgData name="Thomas Stensitzki" userId="75cafe6b-2f2a-469b-85c4-eec3b9c972ba" providerId="ADAL" clId="{F2BB4D5E-E5E5-4B84-8DD9-A7ADA0B72E44}" dt="2022-04-26T16:11:10.231" v="3916" actId="14100"/>
          <ac:cxnSpMkLst>
            <pc:docMk/>
            <pc:sldMk cId="3219683340" sldId="600"/>
            <ac:cxnSpMk id="25" creationId="{5F2D803D-2CAD-410F-A215-83FA65E26555}"/>
          </ac:cxnSpMkLst>
        </pc:cxnChg>
        <pc:cxnChg chg="add mod">
          <ac:chgData name="Thomas Stensitzki" userId="75cafe6b-2f2a-469b-85c4-eec3b9c972ba" providerId="ADAL" clId="{F2BB4D5E-E5E5-4B84-8DD9-A7ADA0B72E44}" dt="2022-04-28T08:46:50.892" v="4144" actId="14100"/>
          <ac:cxnSpMkLst>
            <pc:docMk/>
            <pc:sldMk cId="3219683340" sldId="600"/>
            <ac:cxnSpMk id="30" creationId="{9CF5BA9F-21B1-442D-8288-1C9DC04C5BAF}"/>
          </ac:cxnSpMkLst>
        </pc:cxnChg>
        <pc:cxnChg chg="add mod">
          <ac:chgData name="Thomas Stensitzki" userId="75cafe6b-2f2a-469b-85c4-eec3b9c972ba" providerId="ADAL" clId="{F2BB4D5E-E5E5-4B84-8DD9-A7ADA0B72E44}" dt="2022-04-26T16:12:16.134" v="3930" actId="14100"/>
          <ac:cxnSpMkLst>
            <pc:docMk/>
            <pc:sldMk cId="3219683340" sldId="600"/>
            <ac:cxnSpMk id="34" creationId="{B557A335-2875-4546-A6FF-9E8841BB6885}"/>
          </ac:cxnSpMkLst>
        </pc:cxnChg>
        <pc:cxnChg chg="add mod">
          <ac:chgData name="Thomas Stensitzki" userId="75cafe6b-2f2a-469b-85c4-eec3b9c972ba" providerId="ADAL" clId="{F2BB4D5E-E5E5-4B84-8DD9-A7ADA0B72E44}" dt="2022-04-28T08:47:10.367" v="4148" actId="14100"/>
          <ac:cxnSpMkLst>
            <pc:docMk/>
            <pc:sldMk cId="3219683340" sldId="600"/>
            <ac:cxnSpMk id="35" creationId="{9763E9DC-0775-4C7E-8D72-C38312BC7AAE}"/>
          </ac:cxnSpMkLst>
        </pc:cxnChg>
        <pc:cxnChg chg="add mod">
          <ac:chgData name="Thomas Stensitzki" userId="75cafe6b-2f2a-469b-85c4-eec3b9c972ba" providerId="ADAL" clId="{F2BB4D5E-E5E5-4B84-8DD9-A7ADA0B72E44}" dt="2022-04-28T08:47:27.848" v="4152" actId="33986"/>
          <ac:cxnSpMkLst>
            <pc:docMk/>
            <pc:sldMk cId="3219683340" sldId="600"/>
            <ac:cxnSpMk id="40" creationId="{67EEAFAD-5939-4056-B8FC-7F629E76E079}"/>
          </ac:cxnSpMkLst>
        </pc:cxnChg>
        <pc:cxnChg chg="add mod">
          <ac:chgData name="Thomas Stensitzki" userId="75cafe6b-2f2a-469b-85c4-eec3b9c972ba" providerId="ADAL" clId="{F2BB4D5E-E5E5-4B84-8DD9-A7ADA0B72E44}" dt="2022-04-26T16:31:46.083" v="4136" actId="1076"/>
          <ac:cxnSpMkLst>
            <pc:docMk/>
            <pc:sldMk cId="3219683340" sldId="600"/>
            <ac:cxnSpMk id="49" creationId="{23E54E31-7CF6-45C0-85FB-97E48F8560BC}"/>
          </ac:cxnSpMkLst>
        </pc:cxnChg>
      </pc:sldChg>
      <pc:sldChg chg="del">
        <pc:chgData name="Thomas Stensitzki" userId="75cafe6b-2f2a-469b-85c4-eec3b9c972ba" providerId="ADAL" clId="{F2BB4D5E-E5E5-4B84-8DD9-A7ADA0B72E44}" dt="2022-04-19T12:23:51.426" v="124" actId="47"/>
        <pc:sldMkLst>
          <pc:docMk/>
          <pc:sldMk cId="1353242244" sldId="601"/>
        </pc:sldMkLst>
      </pc:sldChg>
      <pc:sldChg chg="addSp delSp modSp add mod modTransition modAnim">
        <pc:chgData name="Thomas Stensitzki" userId="75cafe6b-2f2a-469b-85c4-eec3b9c972ba" providerId="ADAL" clId="{F2BB4D5E-E5E5-4B84-8DD9-A7ADA0B72E44}" dt="2022-04-28T08:48:51.039" v="4156"/>
        <pc:sldMkLst>
          <pc:docMk/>
          <pc:sldMk cId="1699378225" sldId="601"/>
        </pc:sldMkLst>
        <pc:spChg chg="mod">
          <ac:chgData name="Thomas Stensitzki" userId="75cafe6b-2f2a-469b-85c4-eec3b9c972ba" providerId="ADAL" clId="{F2BB4D5E-E5E5-4B84-8DD9-A7ADA0B72E44}" dt="2022-04-24T09:28:39.592" v="2886" actId="20577"/>
          <ac:spMkLst>
            <pc:docMk/>
            <pc:sldMk cId="1699378225" sldId="601"/>
            <ac:spMk id="2" creationId="{1BC691DD-DCF8-E22A-F993-2C3F954C9BA6}"/>
          </ac:spMkLst>
        </pc:spChg>
        <pc:spChg chg="del">
          <ac:chgData name="Thomas Stensitzki" userId="75cafe6b-2f2a-469b-85c4-eec3b9c972ba" providerId="ADAL" clId="{F2BB4D5E-E5E5-4B84-8DD9-A7ADA0B72E44}" dt="2022-04-24T09:28:42.537" v="2887" actId="478"/>
          <ac:spMkLst>
            <pc:docMk/>
            <pc:sldMk cId="1699378225" sldId="601"/>
            <ac:spMk id="3" creationId="{A854A4AE-7847-857F-6D74-A4294BB78EE3}"/>
          </ac:spMkLst>
        </pc:spChg>
        <pc:spChg chg="add del mod">
          <ac:chgData name="Thomas Stensitzki" userId="75cafe6b-2f2a-469b-85c4-eec3b9c972ba" providerId="ADAL" clId="{F2BB4D5E-E5E5-4B84-8DD9-A7ADA0B72E44}" dt="2022-04-24T09:28:44.272" v="2888" actId="478"/>
          <ac:spMkLst>
            <pc:docMk/>
            <pc:sldMk cId="1699378225" sldId="601"/>
            <ac:spMk id="5" creationId="{D0DA9F89-12F6-4F58-AB4D-D818EDA63B4B}"/>
          </ac:spMkLst>
        </pc:spChg>
        <pc:graphicFrameChg chg="add mod">
          <ac:chgData name="Thomas Stensitzki" userId="75cafe6b-2f2a-469b-85c4-eec3b9c972ba" providerId="ADAL" clId="{F2BB4D5E-E5E5-4B84-8DD9-A7ADA0B72E44}" dt="2022-04-24T09:38:44.523" v="3707" actId="12269"/>
          <ac:graphicFrameMkLst>
            <pc:docMk/>
            <pc:sldMk cId="1699378225" sldId="601"/>
            <ac:graphicFrameMk id="6" creationId="{D1D96EDD-D275-4A9A-99C4-336903FE38B5}"/>
          </ac:graphicFrameMkLst>
        </pc:graphicFrameChg>
      </pc:sldChg>
      <pc:sldChg chg="addSp delSp modSp new mod modTransition modClrScheme modAnim chgLayout">
        <pc:chgData name="Thomas Stensitzki" userId="75cafe6b-2f2a-469b-85c4-eec3b9c972ba" providerId="ADAL" clId="{F2BB4D5E-E5E5-4B84-8DD9-A7ADA0B72E44}" dt="2022-04-24T09:40:07.481" v="3781"/>
        <pc:sldMkLst>
          <pc:docMk/>
          <pc:sldMk cId="131291966" sldId="602"/>
        </pc:sldMkLst>
        <pc:spChg chg="del mod ord">
          <ac:chgData name="Thomas Stensitzki" userId="75cafe6b-2f2a-469b-85c4-eec3b9c972ba" providerId="ADAL" clId="{F2BB4D5E-E5E5-4B84-8DD9-A7ADA0B72E44}" dt="2022-04-24T09:39:18.674" v="3709" actId="700"/>
          <ac:spMkLst>
            <pc:docMk/>
            <pc:sldMk cId="131291966" sldId="602"/>
            <ac:spMk id="2" creationId="{453DDC64-D0AE-4863-BD9E-DCA859A57142}"/>
          </ac:spMkLst>
        </pc:spChg>
        <pc:spChg chg="del mod ord">
          <ac:chgData name="Thomas Stensitzki" userId="75cafe6b-2f2a-469b-85c4-eec3b9c972ba" providerId="ADAL" clId="{F2BB4D5E-E5E5-4B84-8DD9-A7ADA0B72E44}" dt="2022-04-24T09:39:18.674" v="3709" actId="700"/>
          <ac:spMkLst>
            <pc:docMk/>
            <pc:sldMk cId="131291966" sldId="602"/>
            <ac:spMk id="3" creationId="{888D0467-D9F9-4D05-A2C3-26242D461863}"/>
          </ac:spMkLst>
        </pc:spChg>
        <pc:spChg chg="add mod ord">
          <ac:chgData name="Thomas Stensitzki" userId="75cafe6b-2f2a-469b-85c4-eec3b9c972ba" providerId="ADAL" clId="{F2BB4D5E-E5E5-4B84-8DD9-A7ADA0B72E44}" dt="2022-04-24T09:39:50.499" v="3779" actId="20577"/>
          <ac:spMkLst>
            <pc:docMk/>
            <pc:sldMk cId="131291966" sldId="602"/>
            <ac:spMk id="4" creationId="{6C908133-7121-4AFA-B3AD-60A9B860C54F}"/>
          </ac:spMkLst>
        </pc:spChg>
        <pc:spChg chg="add mod ord">
          <ac:chgData name="Thomas Stensitzki" userId="75cafe6b-2f2a-469b-85c4-eec3b9c972ba" providerId="ADAL" clId="{F2BB4D5E-E5E5-4B84-8DD9-A7ADA0B72E44}" dt="2022-04-24T09:39:18.674" v="3709" actId="700"/>
          <ac:spMkLst>
            <pc:docMk/>
            <pc:sldMk cId="131291966" sldId="602"/>
            <ac:spMk id="5" creationId="{4FF62253-DB41-4277-974D-4E59CB549435}"/>
          </ac:spMkLst>
        </pc:spChg>
      </pc:sldChg>
      <pc:sldChg chg="del">
        <pc:chgData name="Thomas Stensitzki" userId="75cafe6b-2f2a-469b-85c4-eec3b9c972ba" providerId="ADAL" clId="{F2BB4D5E-E5E5-4B84-8DD9-A7ADA0B72E44}" dt="2022-04-19T12:23:51.426" v="124" actId="47"/>
        <pc:sldMkLst>
          <pc:docMk/>
          <pc:sldMk cId="1032519195" sldId="602"/>
        </pc:sldMkLst>
      </pc:sldChg>
      <pc:sldChg chg="del">
        <pc:chgData name="Thomas Stensitzki" userId="75cafe6b-2f2a-469b-85c4-eec3b9c972ba" providerId="ADAL" clId="{F2BB4D5E-E5E5-4B84-8DD9-A7ADA0B72E44}" dt="2022-04-19T12:23:51.426" v="124" actId="47"/>
        <pc:sldMkLst>
          <pc:docMk/>
          <pc:sldMk cId="167954962" sldId="603"/>
        </pc:sldMkLst>
      </pc:sldChg>
      <pc:sldChg chg="del">
        <pc:chgData name="Thomas Stensitzki" userId="75cafe6b-2f2a-469b-85c4-eec3b9c972ba" providerId="ADAL" clId="{F2BB4D5E-E5E5-4B84-8DD9-A7ADA0B72E44}" dt="2022-04-19T12:23:55.448" v="125" actId="47"/>
        <pc:sldMkLst>
          <pc:docMk/>
          <pc:sldMk cId="1319860976" sldId="604"/>
        </pc:sldMkLst>
      </pc:sldChg>
      <pc:sldChg chg="modSp mod">
        <pc:chgData name="Thomas Stensitzki" userId="75cafe6b-2f2a-469b-85c4-eec3b9c972ba" providerId="ADAL" clId="{F2BB4D5E-E5E5-4B84-8DD9-A7ADA0B72E44}" dt="2022-04-28T17:45:02.566" v="4337" actId="20577"/>
        <pc:sldMkLst>
          <pc:docMk/>
          <pc:sldMk cId="4098706796" sldId="604"/>
        </pc:sldMkLst>
        <pc:spChg chg="mod">
          <ac:chgData name="Thomas Stensitzki" userId="75cafe6b-2f2a-469b-85c4-eec3b9c972ba" providerId="ADAL" clId="{F2BB4D5E-E5E5-4B84-8DD9-A7ADA0B72E44}" dt="2022-04-28T17:45:02.566" v="4337" actId="20577"/>
          <ac:spMkLst>
            <pc:docMk/>
            <pc:sldMk cId="4098706796" sldId="604"/>
            <ac:spMk id="3" creationId="{26C8DA23-4FF8-3D58-B509-BFFD25A330F7}"/>
          </ac:spMkLst>
        </pc:spChg>
      </pc:sldChg>
      <pc:sldChg chg="del">
        <pc:chgData name="Thomas Stensitzki" userId="75cafe6b-2f2a-469b-85c4-eec3b9c972ba" providerId="ADAL" clId="{F2BB4D5E-E5E5-4B84-8DD9-A7ADA0B72E44}" dt="2022-04-19T12:23:55.448" v="125" actId="47"/>
        <pc:sldMkLst>
          <pc:docMk/>
          <pc:sldMk cId="960196194" sldId="605"/>
        </pc:sldMkLst>
      </pc:sldChg>
      <pc:sldChg chg="modSp mod">
        <pc:chgData name="Thomas Stensitzki" userId="75cafe6b-2f2a-469b-85c4-eec3b9c972ba" providerId="ADAL" clId="{F2BB4D5E-E5E5-4B84-8DD9-A7ADA0B72E44}" dt="2022-05-10T08:03:07.444" v="4346" actId="20577"/>
        <pc:sldMkLst>
          <pc:docMk/>
          <pc:sldMk cId="1856989855" sldId="606"/>
        </pc:sldMkLst>
        <pc:spChg chg="mod">
          <ac:chgData name="Thomas Stensitzki" userId="75cafe6b-2f2a-469b-85c4-eec3b9c972ba" providerId="ADAL" clId="{F2BB4D5E-E5E5-4B84-8DD9-A7ADA0B72E44}" dt="2022-05-10T08:03:07.444" v="4346" actId="20577"/>
          <ac:spMkLst>
            <pc:docMk/>
            <pc:sldMk cId="1856989855" sldId="606"/>
            <ac:spMk id="4" creationId="{F3A15CBD-C746-44A3-A4F0-4898CE2F02E6}"/>
          </ac:spMkLst>
        </pc:spChg>
        <pc:spChg chg="mod">
          <ac:chgData name="Thomas Stensitzki" userId="75cafe6b-2f2a-469b-85c4-eec3b9c972ba" providerId="ADAL" clId="{F2BB4D5E-E5E5-4B84-8DD9-A7ADA0B72E44}" dt="2022-04-28T15:45:24.421" v="4321"/>
          <ac:spMkLst>
            <pc:docMk/>
            <pc:sldMk cId="1856989855" sldId="606"/>
            <ac:spMk id="5" creationId="{F3459BE7-1731-4733-A912-12977C68CFD6}"/>
          </ac:spMkLst>
        </pc:spChg>
      </pc:sldChg>
      <pc:sldChg chg="del">
        <pc:chgData name="Thomas Stensitzki" userId="75cafe6b-2f2a-469b-85c4-eec3b9c972ba" providerId="ADAL" clId="{F2BB4D5E-E5E5-4B84-8DD9-A7ADA0B72E44}" dt="2022-04-19T12:23:57.164" v="126" actId="47"/>
        <pc:sldMkLst>
          <pc:docMk/>
          <pc:sldMk cId="2615993417" sldId="606"/>
        </pc:sldMkLst>
      </pc:sldChg>
      <pc:sldChg chg="del">
        <pc:chgData name="Thomas Stensitzki" userId="75cafe6b-2f2a-469b-85c4-eec3b9c972ba" providerId="ADAL" clId="{F2BB4D5E-E5E5-4B84-8DD9-A7ADA0B72E44}" dt="2022-04-19T12:23:57.164" v="126" actId="47"/>
        <pc:sldMkLst>
          <pc:docMk/>
          <pc:sldMk cId="850732423" sldId="607"/>
        </pc:sldMkLst>
      </pc:sldChg>
      <pc:sldChg chg="addSp delSp modSp new mod modClrScheme chgLayout">
        <pc:chgData name="Thomas Stensitzki" userId="75cafe6b-2f2a-469b-85c4-eec3b9c972ba" providerId="ADAL" clId="{F2BB4D5E-E5E5-4B84-8DD9-A7ADA0B72E44}" dt="2022-04-28T08:54:05.084" v="4297" actId="20577"/>
        <pc:sldMkLst>
          <pc:docMk/>
          <pc:sldMk cId="2410402961" sldId="607"/>
        </pc:sldMkLst>
        <pc:spChg chg="del mod ord">
          <ac:chgData name="Thomas Stensitzki" userId="75cafe6b-2f2a-469b-85c4-eec3b9c972ba" providerId="ADAL" clId="{F2BB4D5E-E5E5-4B84-8DD9-A7ADA0B72E44}" dt="2022-04-28T08:49:35.737" v="4158" actId="700"/>
          <ac:spMkLst>
            <pc:docMk/>
            <pc:sldMk cId="2410402961" sldId="607"/>
            <ac:spMk id="2" creationId="{EAA57030-8230-4720-9359-7C909643D015}"/>
          </ac:spMkLst>
        </pc:spChg>
        <pc:spChg chg="del mod ord">
          <ac:chgData name="Thomas Stensitzki" userId="75cafe6b-2f2a-469b-85c4-eec3b9c972ba" providerId="ADAL" clId="{F2BB4D5E-E5E5-4B84-8DD9-A7ADA0B72E44}" dt="2022-04-28T08:49:35.737" v="4158" actId="700"/>
          <ac:spMkLst>
            <pc:docMk/>
            <pc:sldMk cId="2410402961" sldId="607"/>
            <ac:spMk id="3" creationId="{C5FC1A63-FE2C-4907-BCB9-FEDDE08F4534}"/>
          </ac:spMkLst>
        </pc:spChg>
        <pc:spChg chg="add mod ord">
          <ac:chgData name="Thomas Stensitzki" userId="75cafe6b-2f2a-469b-85c4-eec3b9c972ba" providerId="ADAL" clId="{F2BB4D5E-E5E5-4B84-8DD9-A7ADA0B72E44}" dt="2022-04-28T08:54:05.084" v="4297" actId="20577"/>
          <ac:spMkLst>
            <pc:docMk/>
            <pc:sldMk cId="2410402961" sldId="607"/>
            <ac:spMk id="4" creationId="{91495484-5BE7-40E1-862A-4636FCB4E6CC}"/>
          </ac:spMkLst>
        </pc:spChg>
        <pc:spChg chg="add mod ord">
          <ac:chgData name="Thomas Stensitzki" userId="75cafe6b-2f2a-469b-85c4-eec3b9c972ba" providerId="ADAL" clId="{F2BB4D5E-E5E5-4B84-8DD9-A7ADA0B72E44}" dt="2022-04-28T08:52:56.354" v="4252" actId="6549"/>
          <ac:spMkLst>
            <pc:docMk/>
            <pc:sldMk cId="2410402961" sldId="607"/>
            <ac:spMk id="5" creationId="{B18F6B9A-17E6-4238-BF43-B01EF6F1C598}"/>
          </ac:spMkLst>
        </pc:spChg>
      </pc:sldChg>
      <pc:sldChg chg="del">
        <pc:chgData name="Thomas Stensitzki" userId="75cafe6b-2f2a-469b-85c4-eec3b9c972ba" providerId="ADAL" clId="{F2BB4D5E-E5E5-4B84-8DD9-A7ADA0B72E44}" dt="2022-04-19T12:23:58.675" v="127" actId="47"/>
        <pc:sldMkLst>
          <pc:docMk/>
          <pc:sldMk cId="2141078485" sldId="608"/>
        </pc:sldMkLst>
      </pc:sldChg>
      <pc:sldChg chg="del">
        <pc:chgData name="Thomas Stensitzki" userId="75cafe6b-2f2a-469b-85c4-eec3b9c972ba" providerId="ADAL" clId="{F2BB4D5E-E5E5-4B84-8DD9-A7ADA0B72E44}" dt="2022-04-19T12:23:58.675" v="127" actId="47"/>
        <pc:sldMkLst>
          <pc:docMk/>
          <pc:sldMk cId="2216310711" sldId="609"/>
        </pc:sldMkLst>
      </pc:sldChg>
      <pc:sldChg chg="del">
        <pc:chgData name="Thomas Stensitzki" userId="75cafe6b-2f2a-469b-85c4-eec3b9c972ba" providerId="ADAL" clId="{F2BB4D5E-E5E5-4B84-8DD9-A7ADA0B72E44}" dt="2022-04-19T12:23:58.675" v="127" actId="47"/>
        <pc:sldMkLst>
          <pc:docMk/>
          <pc:sldMk cId="52005476" sldId="610"/>
        </pc:sldMkLst>
      </pc:sldChg>
      <pc:sldChg chg="del">
        <pc:chgData name="Thomas Stensitzki" userId="75cafe6b-2f2a-469b-85c4-eec3b9c972ba" providerId="ADAL" clId="{F2BB4D5E-E5E5-4B84-8DD9-A7ADA0B72E44}" dt="2022-04-19T12:24:00.296" v="128" actId="47"/>
        <pc:sldMkLst>
          <pc:docMk/>
          <pc:sldMk cId="724457052" sldId="611"/>
        </pc:sldMkLst>
      </pc:sldChg>
      <pc:sldChg chg="del">
        <pc:chgData name="Thomas Stensitzki" userId="75cafe6b-2f2a-469b-85c4-eec3b9c972ba" providerId="ADAL" clId="{F2BB4D5E-E5E5-4B84-8DD9-A7ADA0B72E44}" dt="2022-04-19T12:24:00.296" v="128" actId="47"/>
        <pc:sldMkLst>
          <pc:docMk/>
          <pc:sldMk cId="1451652416" sldId="612"/>
        </pc:sldMkLst>
      </pc:sldChg>
      <pc:sldChg chg="del">
        <pc:chgData name="Thomas Stensitzki" userId="75cafe6b-2f2a-469b-85c4-eec3b9c972ba" providerId="ADAL" clId="{F2BB4D5E-E5E5-4B84-8DD9-A7ADA0B72E44}" dt="2022-04-19T12:24:02.307" v="129" actId="47"/>
        <pc:sldMkLst>
          <pc:docMk/>
          <pc:sldMk cId="1471743522" sldId="613"/>
        </pc:sldMkLst>
      </pc:sldChg>
    </pc:docChg>
  </pc:docChgLst>
  <pc:docChgLst>
    <pc:chgData name="Thomas Stensitzki" userId="75cafe6b-2f2a-469b-85c4-eec3b9c972ba" providerId="ADAL" clId="{363DE228-8D93-47E2-A1D5-6CB8C68569A9}"/>
    <pc:docChg chg="undo custSel addSld delSld modSld sldOrd addSection modSection">
      <pc:chgData name="Thomas Stensitzki" userId="75cafe6b-2f2a-469b-85c4-eec3b9c972ba" providerId="ADAL" clId="{363DE228-8D93-47E2-A1D5-6CB8C68569A9}" dt="2021-04-17T16:51:45.081" v="4048" actId="478"/>
      <pc:docMkLst>
        <pc:docMk/>
      </pc:docMkLst>
      <pc:sldChg chg="modSp mod">
        <pc:chgData name="Thomas Stensitzki" userId="75cafe6b-2f2a-469b-85c4-eec3b9c972ba" providerId="ADAL" clId="{363DE228-8D93-47E2-A1D5-6CB8C68569A9}" dt="2021-04-11T08:56:56.521" v="8" actId="20577"/>
        <pc:sldMkLst>
          <pc:docMk/>
          <pc:sldMk cId="671489701" sldId="256"/>
        </pc:sldMkLst>
        <pc:spChg chg="mod">
          <ac:chgData name="Thomas Stensitzki" userId="75cafe6b-2f2a-469b-85c4-eec3b9c972ba" providerId="ADAL" clId="{363DE228-8D93-47E2-A1D5-6CB8C68569A9}" dt="2021-04-11T08:56:56.521" v="8" actId="20577"/>
          <ac:spMkLst>
            <pc:docMk/>
            <pc:sldMk cId="671489701" sldId="256"/>
            <ac:spMk id="3" creationId="{CBA95633-B02D-4A15-A8B1-A38E0A70FD27}"/>
          </ac:spMkLst>
        </pc:spChg>
      </pc:sldChg>
      <pc:sldChg chg="modSp mod">
        <pc:chgData name="Thomas Stensitzki" userId="75cafe6b-2f2a-469b-85c4-eec3b9c972ba" providerId="ADAL" clId="{363DE228-8D93-47E2-A1D5-6CB8C68569A9}" dt="2021-04-11T10:04:19.734" v="21"/>
        <pc:sldMkLst>
          <pc:docMk/>
          <pc:sldMk cId="2855324227" sldId="257"/>
        </pc:sldMkLst>
        <pc:graphicFrameChg chg="mod modGraphic">
          <ac:chgData name="Thomas Stensitzki" userId="75cafe6b-2f2a-469b-85c4-eec3b9c972ba" providerId="ADAL" clId="{363DE228-8D93-47E2-A1D5-6CB8C68569A9}" dt="2021-04-11T10:04:19.734" v="21"/>
          <ac:graphicFrameMkLst>
            <pc:docMk/>
            <pc:sldMk cId="2855324227" sldId="257"/>
            <ac:graphicFrameMk id="6" creationId="{0F955DCC-462D-431D-BBDE-26F10687D590}"/>
          </ac:graphicFrameMkLst>
        </pc:graphicFrameChg>
      </pc:sldChg>
      <pc:sldChg chg="addSp modSp mod">
        <pc:chgData name="Thomas Stensitzki" userId="75cafe6b-2f2a-469b-85c4-eec3b9c972ba" providerId="ADAL" clId="{363DE228-8D93-47E2-A1D5-6CB8C68569A9}" dt="2021-04-15T18:20:42.395" v="3942" actId="1076"/>
        <pc:sldMkLst>
          <pc:docMk/>
          <pc:sldMk cId="3332792154" sldId="258"/>
        </pc:sldMkLst>
        <pc:spChg chg="mod">
          <ac:chgData name="Thomas Stensitzki" userId="75cafe6b-2f2a-469b-85c4-eec3b9c972ba" providerId="ADAL" clId="{363DE228-8D93-47E2-A1D5-6CB8C68569A9}" dt="2021-04-15T18:19:23.763" v="3933" actId="20577"/>
          <ac:spMkLst>
            <pc:docMk/>
            <pc:sldMk cId="3332792154" sldId="258"/>
            <ac:spMk id="3" creationId="{3A5A44EB-7FB9-473A-8ED3-C49DDD2E65AB}"/>
          </ac:spMkLst>
        </pc:spChg>
        <pc:picChg chg="add mod">
          <ac:chgData name="Thomas Stensitzki" userId="75cafe6b-2f2a-469b-85c4-eec3b9c972ba" providerId="ADAL" clId="{363DE228-8D93-47E2-A1D5-6CB8C68569A9}" dt="2021-04-15T18:20:42.395" v="3942" actId="1076"/>
          <ac:picMkLst>
            <pc:docMk/>
            <pc:sldMk cId="3332792154" sldId="258"/>
            <ac:picMk id="5" creationId="{EEE89219-4CF0-44A2-811B-A2CBC860BCCC}"/>
          </ac:picMkLst>
        </pc:picChg>
      </pc:sldChg>
      <pc:sldChg chg="modSp mod">
        <pc:chgData name="Thomas Stensitzki" userId="75cafe6b-2f2a-469b-85c4-eec3b9c972ba" providerId="ADAL" clId="{363DE228-8D93-47E2-A1D5-6CB8C68569A9}" dt="2021-04-11T10:05:00.198" v="62" actId="20577"/>
        <pc:sldMkLst>
          <pc:docMk/>
          <pc:sldMk cId="2698998357" sldId="260"/>
        </pc:sldMkLst>
        <pc:spChg chg="mod">
          <ac:chgData name="Thomas Stensitzki" userId="75cafe6b-2f2a-469b-85c4-eec3b9c972ba" providerId="ADAL" clId="{363DE228-8D93-47E2-A1D5-6CB8C68569A9}" dt="2021-04-11T10:04:38.120" v="22"/>
          <ac:spMkLst>
            <pc:docMk/>
            <pc:sldMk cId="2698998357" sldId="260"/>
            <ac:spMk id="4" creationId="{F3A15CBD-C746-44A3-A4F0-4898CE2F02E6}"/>
          </ac:spMkLst>
        </pc:spChg>
        <pc:spChg chg="mod">
          <ac:chgData name="Thomas Stensitzki" userId="75cafe6b-2f2a-469b-85c4-eec3b9c972ba" providerId="ADAL" clId="{363DE228-8D93-47E2-A1D5-6CB8C68569A9}" dt="2021-04-11T10:05:00.198" v="62" actId="20577"/>
          <ac:spMkLst>
            <pc:docMk/>
            <pc:sldMk cId="2698998357" sldId="260"/>
            <ac:spMk id="5" creationId="{F3459BE7-1731-4733-A912-12977C68CFD6}"/>
          </ac:spMkLst>
        </pc:spChg>
      </pc:sldChg>
      <pc:sldChg chg="modSp mod">
        <pc:chgData name="Thomas Stensitzki" userId="75cafe6b-2f2a-469b-85c4-eec3b9c972ba" providerId="ADAL" clId="{363DE228-8D93-47E2-A1D5-6CB8C68569A9}" dt="2021-04-17T11:19:18.618" v="3944" actId="20577"/>
        <pc:sldMkLst>
          <pc:docMk/>
          <pc:sldMk cId="4007670073" sldId="268"/>
        </pc:sldMkLst>
        <pc:spChg chg="mod">
          <ac:chgData name="Thomas Stensitzki" userId="75cafe6b-2f2a-469b-85c4-eec3b9c972ba" providerId="ADAL" clId="{363DE228-8D93-47E2-A1D5-6CB8C68569A9}" dt="2021-04-17T11:19:18.618" v="3944" actId="20577"/>
          <ac:spMkLst>
            <pc:docMk/>
            <pc:sldMk cId="4007670073" sldId="268"/>
            <ac:spMk id="4" creationId="{F3A15CBD-C746-44A3-A4F0-4898CE2F02E6}"/>
          </ac:spMkLst>
        </pc:spChg>
      </pc:sldChg>
      <pc:sldChg chg="modSp mod">
        <pc:chgData name="Thomas Stensitzki" userId="75cafe6b-2f2a-469b-85c4-eec3b9c972ba" providerId="ADAL" clId="{363DE228-8D93-47E2-A1D5-6CB8C68569A9}" dt="2021-04-13T16:17:42.792" v="3788" actId="6549"/>
        <pc:sldMkLst>
          <pc:docMk/>
          <pc:sldMk cId="2721051844" sldId="269"/>
        </pc:sldMkLst>
        <pc:spChg chg="mod">
          <ac:chgData name="Thomas Stensitzki" userId="75cafe6b-2f2a-469b-85c4-eec3b9c972ba" providerId="ADAL" clId="{363DE228-8D93-47E2-A1D5-6CB8C68569A9}" dt="2021-04-13T16:17:42.792" v="3788" actId="6549"/>
          <ac:spMkLst>
            <pc:docMk/>
            <pc:sldMk cId="2721051844" sldId="269"/>
            <ac:spMk id="5" creationId="{C24DACB5-1BEC-4C86-9652-BAFD8DE56FEF}"/>
          </ac:spMkLst>
        </pc:spChg>
      </pc:sldChg>
      <pc:sldChg chg="modSp mod">
        <pc:chgData name="Thomas Stensitzki" userId="75cafe6b-2f2a-469b-85c4-eec3b9c972ba" providerId="ADAL" clId="{363DE228-8D93-47E2-A1D5-6CB8C68569A9}" dt="2021-04-15T16:27:33.529" v="3888" actId="6549"/>
        <pc:sldMkLst>
          <pc:docMk/>
          <pc:sldMk cId="466045460" sldId="296"/>
        </pc:sldMkLst>
        <pc:spChg chg="mod">
          <ac:chgData name="Thomas Stensitzki" userId="75cafe6b-2f2a-469b-85c4-eec3b9c972ba" providerId="ADAL" clId="{363DE228-8D93-47E2-A1D5-6CB8C68569A9}" dt="2021-04-15T16:27:33.529" v="3888" actId="6549"/>
          <ac:spMkLst>
            <pc:docMk/>
            <pc:sldMk cId="466045460" sldId="296"/>
            <ac:spMk id="3" creationId="{3DE143F2-5A09-45BF-B00B-7298420C5BE2}"/>
          </ac:spMkLst>
        </pc:spChg>
      </pc:sldChg>
      <pc:sldChg chg="modSp mod">
        <pc:chgData name="Thomas Stensitzki" userId="75cafe6b-2f2a-469b-85c4-eec3b9c972ba" providerId="ADAL" clId="{363DE228-8D93-47E2-A1D5-6CB8C68569A9}" dt="2021-04-11T10:05:47.817" v="111" actId="20577"/>
        <pc:sldMkLst>
          <pc:docMk/>
          <pc:sldMk cId="53967156" sldId="297"/>
        </pc:sldMkLst>
        <pc:spChg chg="mod">
          <ac:chgData name="Thomas Stensitzki" userId="75cafe6b-2f2a-469b-85c4-eec3b9c972ba" providerId="ADAL" clId="{363DE228-8D93-47E2-A1D5-6CB8C68569A9}" dt="2021-04-11T10:05:30.095" v="67"/>
          <ac:spMkLst>
            <pc:docMk/>
            <pc:sldMk cId="53967156" sldId="297"/>
            <ac:spMk id="4" creationId="{F3A15CBD-C746-44A3-A4F0-4898CE2F02E6}"/>
          </ac:spMkLst>
        </pc:spChg>
        <pc:spChg chg="mod">
          <ac:chgData name="Thomas Stensitzki" userId="75cafe6b-2f2a-469b-85c4-eec3b9c972ba" providerId="ADAL" clId="{363DE228-8D93-47E2-A1D5-6CB8C68569A9}" dt="2021-04-11T10:05:47.817" v="111" actId="20577"/>
          <ac:spMkLst>
            <pc:docMk/>
            <pc:sldMk cId="53967156" sldId="297"/>
            <ac:spMk id="5" creationId="{F3459BE7-1731-4733-A912-12977C68CFD6}"/>
          </ac:spMkLst>
        </pc:spChg>
      </pc:sldChg>
      <pc:sldChg chg="modSp mod modAnim">
        <pc:chgData name="Thomas Stensitzki" userId="75cafe6b-2f2a-469b-85c4-eec3b9c972ba" providerId="ADAL" clId="{363DE228-8D93-47E2-A1D5-6CB8C68569A9}" dt="2021-04-11T10:11:21.512" v="229" actId="6549"/>
        <pc:sldMkLst>
          <pc:docMk/>
          <pc:sldMk cId="222169851" sldId="312"/>
        </pc:sldMkLst>
        <pc:spChg chg="mod">
          <ac:chgData name="Thomas Stensitzki" userId="75cafe6b-2f2a-469b-85c4-eec3b9c972ba" providerId="ADAL" clId="{363DE228-8D93-47E2-A1D5-6CB8C68569A9}" dt="2021-04-11T10:11:21.512" v="229" actId="6549"/>
          <ac:spMkLst>
            <pc:docMk/>
            <pc:sldMk cId="222169851" sldId="312"/>
            <ac:spMk id="5" creationId="{E4B561B6-C0CF-43D8-8BC7-F305B96C47C8}"/>
          </ac:spMkLst>
        </pc:spChg>
      </pc:sldChg>
      <pc:sldChg chg="modSp mod modNotesTx">
        <pc:chgData name="Thomas Stensitzki" userId="75cafe6b-2f2a-469b-85c4-eec3b9c972ba" providerId="ADAL" clId="{363DE228-8D93-47E2-A1D5-6CB8C68569A9}" dt="2021-04-13T16:12:45.533" v="3594" actId="6549"/>
        <pc:sldMkLst>
          <pc:docMk/>
          <pc:sldMk cId="3298503951" sldId="372"/>
        </pc:sldMkLst>
        <pc:spChg chg="mod">
          <ac:chgData name="Thomas Stensitzki" userId="75cafe6b-2f2a-469b-85c4-eec3b9c972ba" providerId="ADAL" clId="{363DE228-8D93-47E2-A1D5-6CB8C68569A9}" dt="2021-04-11T10:55:46.462" v="1153" actId="14100"/>
          <ac:spMkLst>
            <pc:docMk/>
            <pc:sldMk cId="3298503951" sldId="372"/>
            <ac:spMk id="2" creationId="{909DC09D-B9A6-4493-9A72-1CA7ECB1F5CA}"/>
          </ac:spMkLst>
        </pc:spChg>
        <pc:spChg chg="mod">
          <ac:chgData name="Thomas Stensitzki" userId="75cafe6b-2f2a-469b-85c4-eec3b9c972ba" providerId="ADAL" clId="{363DE228-8D93-47E2-A1D5-6CB8C68569A9}" dt="2021-04-13T16:11:06.803" v="3487" actId="6549"/>
          <ac:spMkLst>
            <pc:docMk/>
            <pc:sldMk cId="3298503951" sldId="372"/>
            <ac:spMk id="5" creationId="{C24DACB5-1BEC-4C86-9652-BAFD8DE56FEF}"/>
          </ac:spMkLst>
        </pc:spChg>
      </pc:sldChg>
      <pc:sldChg chg="del">
        <pc:chgData name="Thomas Stensitzki" userId="75cafe6b-2f2a-469b-85c4-eec3b9c972ba" providerId="ADAL" clId="{363DE228-8D93-47E2-A1D5-6CB8C68569A9}" dt="2021-04-11T10:05:16.402" v="66" actId="47"/>
        <pc:sldMkLst>
          <pc:docMk/>
          <pc:sldMk cId="1108181351" sldId="377"/>
        </pc:sldMkLst>
      </pc:sldChg>
      <pc:sldChg chg="modSp mod modNotesTx">
        <pc:chgData name="Thomas Stensitzki" userId="75cafe6b-2f2a-469b-85c4-eec3b9c972ba" providerId="ADAL" clId="{363DE228-8D93-47E2-A1D5-6CB8C68569A9}" dt="2021-04-13T15:55:03.787" v="2849" actId="14100"/>
        <pc:sldMkLst>
          <pc:docMk/>
          <pc:sldMk cId="2227487991" sldId="378"/>
        </pc:sldMkLst>
        <pc:spChg chg="mod">
          <ac:chgData name="Thomas Stensitzki" userId="75cafe6b-2f2a-469b-85c4-eec3b9c972ba" providerId="ADAL" clId="{363DE228-8D93-47E2-A1D5-6CB8C68569A9}" dt="2021-04-13T15:55:03.787" v="2849" actId="14100"/>
          <ac:spMkLst>
            <pc:docMk/>
            <pc:sldMk cId="2227487991" sldId="378"/>
            <ac:spMk id="2" creationId="{909DC09D-B9A6-4493-9A72-1CA7ECB1F5CA}"/>
          </ac:spMkLst>
        </pc:spChg>
        <pc:spChg chg="mod">
          <ac:chgData name="Thomas Stensitzki" userId="75cafe6b-2f2a-469b-85c4-eec3b9c972ba" providerId="ADAL" clId="{363DE228-8D93-47E2-A1D5-6CB8C68569A9}" dt="2021-04-11T10:13:05.675" v="278" actId="20577"/>
          <ac:spMkLst>
            <pc:docMk/>
            <pc:sldMk cId="2227487991" sldId="378"/>
            <ac:spMk id="4" creationId="{D12969B4-351A-4517-A5B8-3E6AD9CDB206}"/>
          </ac:spMkLst>
        </pc:spChg>
        <pc:spChg chg="mod">
          <ac:chgData name="Thomas Stensitzki" userId="75cafe6b-2f2a-469b-85c4-eec3b9c972ba" providerId="ADAL" clId="{363DE228-8D93-47E2-A1D5-6CB8C68569A9}" dt="2021-04-11T10:59:23.370" v="1259" actId="20577"/>
          <ac:spMkLst>
            <pc:docMk/>
            <pc:sldMk cId="2227487991" sldId="378"/>
            <ac:spMk id="5" creationId="{C24DACB5-1BEC-4C86-9652-BAFD8DE56FEF}"/>
          </ac:spMkLst>
        </pc:spChg>
      </pc:sldChg>
      <pc:sldChg chg="addSp delSp modSp mod chgLayout modNotesTx">
        <pc:chgData name="Thomas Stensitzki" userId="75cafe6b-2f2a-469b-85c4-eec3b9c972ba" providerId="ADAL" clId="{363DE228-8D93-47E2-A1D5-6CB8C68569A9}" dt="2021-04-11T10:43:04.830" v="820" actId="108"/>
        <pc:sldMkLst>
          <pc:docMk/>
          <pc:sldMk cId="4126930427" sldId="379"/>
        </pc:sldMkLst>
        <pc:spChg chg="mod ord">
          <ac:chgData name="Thomas Stensitzki" userId="75cafe6b-2f2a-469b-85c4-eec3b9c972ba" providerId="ADAL" clId="{363DE228-8D93-47E2-A1D5-6CB8C68569A9}" dt="2021-04-11T10:36:23.975" v="745"/>
          <ac:spMkLst>
            <pc:docMk/>
            <pc:sldMk cId="4126930427" sldId="379"/>
            <ac:spMk id="2" creationId="{50183ADD-E6D0-4570-B5FB-F95BA9130DEC}"/>
          </ac:spMkLst>
        </pc:spChg>
        <pc:spChg chg="add mod ord">
          <ac:chgData name="Thomas Stensitzki" userId="75cafe6b-2f2a-469b-85c4-eec3b9c972ba" providerId="ADAL" clId="{363DE228-8D93-47E2-A1D5-6CB8C68569A9}" dt="2021-04-11T10:43:04.830" v="820" actId="108"/>
          <ac:spMkLst>
            <pc:docMk/>
            <pc:sldMk cId="4126930427" sldId="379"/>
            <ac:spMk id="3" creationId="{640681BE-521C-4DA5-8225-6EDEBEF53EB0}"/>
          </ac:spMkLst>
        </pc:spChg>
        <pc:picChg chg="del">
          <ac:chgData name="Thomas Stensitzki" userId="75cafe6b-2f2a-469b-85c4-eec3b9c972ba" providerId="ADAL" clId="{363DE228-8D93-47E2-A1D5-6CB8C68569A9}" dt="2021-04-11T10:14:58.629" v="302" actId="478"/>
          <ac:picMkLst>
            <pc:docMk/>
            <pc:sldMk cId="4126930427" sldId="379"/>
            <ac:picMk id="1026" creationId="{6F4D62F5-9A7A-4568-B0C8-37200F0AADF0}"/>
          </ac:picMkLst>
        </pc:picChg>
      </pc:sldChg>
      <pc:sldChg chg="del">
        <pc:chgData name="Thomas Stensitzki" userId="75cafe6b-2f2a-469b-85c4-eec3b9c972ba" providerId="ADAL" clId="{363DE228-8D93-47E2-A1D5-6CB8C68569A9}" dt="2021-04-11T10:12:07.961" v="249" actId="47"/>
        <pc:sldMkLst>
          <pc:docMk/>
          <pc:sldMk cId="2961263446" sldId="380"/>
        </pc:sldMkLst>
      </pc:sldChg>
      <pc:sldChg chg="del">
        <pc:chgData name="Thomas Stensitzki" userId="75cafe6b-2f2a-469b-85c4-eec3b9c972ba" providerId="ADAL" clId="{363DE228-8D93-47E2-A1D5-6CB8C68569A9}" dt="2021-04-11T10:12:15.495" v="250" actId="47"/>
        <pc:sldMkLst>
          <pc:docMk/>
          <pc:sldMk cId="2134997509" sldId="381"/>
        </pc:sldMkLst>
      </pc:sldChg>
      <pc:sldChg chg="del">
        <pc:chgData name="Thomas Stensitzki" userId="75cafe6b-2f2a-469b-85c4-eec3b9c972ba" providerId="ADAL" clId="{363DE228-8D93-47E2-A1D5-6CB8C68569A9}" dt="2021-04-11T10:12:15.495" v="250" actId="47"/>
        <pc:sldMkLst>
          <pc:docMk/>
          <pc:sldMk cId="804569921" sldId="382"/>
        </pc:sldMkLst>
      </pc:sldChg>
      <pc:sldChg chg="del">
        <pc:chgData name="Thomas Stensitzki" userId="75cafe6b-2f2a-469b-85c4-eec3b9c972ba" providerId="ADAL" clId="{363DE228-8D93-47E2-A1D5-6CB8C68569A9}" dt="2021-04-11T10:12:23.672" v="251" actId="47"/>
        <pc:sldMkLst>
          <pc:docMk/>
          <pc:sldMk cId="1200616128" sldId="383"/>
        </pc:sldMkLst>
      </pc:sldChg>
      <pc:sldChg chg="del">
        <pc:chgData name="Thomas Stensitzki" userId="75cafe6b-2f2a-469b-85c4-eec3b9c972ba" providerId="ADAL" clId="{363DE228-8D93-47E2-A1D5-6CB8C68569A9}" dt="2021-04-11T10:12:23.672" v="251" actId="47"/>
        <pc:sldMkLst>
          <pc:docMk/>
          <pc:sldMk cId="2706860444" sldId="384"/>
        </pc:sldMkLst>
      </pc:sldChg>
      <pc:sldChg chg="del">
        <pc:chgData name="Thomas Stensitzki" userId="75cafe6b-2f2a-469b-85c4-eec3b9c972ba" providerId="ADAL" clId="{363DE228-8D93-47E2-A1D5-6CB8C68569A9}" dt="2021-04-11T10:12:23.672" v="251" actId="47"/>
        <pc:sldMkLst>
          <pc:docMk/>
          <pc:sldMk cId="2618174212" sldId="385"/>
        </pc:sldMkLst>
      </pc:sldChg>
      <pc:sldChg chg="del">
        <pc:chgData name="Thomas Stensitzki" userId="75cafe6b-2f2a-469b-85c4-eec3b9c972ba" providerId="ADAL" clId="{363DE228-8D93-47E2-A1D5-6CB8C68569A9}" dt="2021-04-11T10:12:23.672" v="251" actId="47"/>
        <pc:sldMkLst>
          <pc:docMk/>
          <pc:sldMk cId="2318153121" sldId="386"/>
        </pc:sldMkLst>
      </pc:sldChg>
      <pc:sldChg chg="del">
        <pc:chgData name="Thomas Stensitzki" userId="75cafe6b-2f2a-469b-85c4-eec3b9c972ba" providerId="ADAL" clId="{363DE228-8D93-47E2-A1D5-6CB8C68569A9}" dt="2021-04-11T10:12:23.672" v="251" actId="47"/>
        <pc:sldMkLst>
          <pc:docMk/>
          <pc:sldMk cId="2558906762" sldId="387"/>
        </pc:sldMkLst>
      </pc:sldChg>
      <pc:sldChg chg="del">
        <pc:chgData name="Thomas Stensitzki" userId="75cafe6b-2f2a-469b-85c4-eec3b9c972ba" providerId="ADAL" clId="{363DE228-8D93-47E2-A1D5-6CB8C68569A9}" dt="2021-04-11T10:12:37.717" v="252" actId="47"/>
        <pc:sldMkLst>
          <pc:docMk/>
          <pc:sldMk cId="2051762330" sldId="388"/>
        </pc:sldMkLst>
      </pc:sldChg>
      <pc:sldChg chg="del">
        <pc:chgData name="Thomas Stensitzki" userId="75cafe6b-2f2a-469b-85c4-eec3b9c972ba" providerId="ADAL" clId="{363DE228-8D93-47E2-A1D5-6CB8C68569A9}" dt="2021-04-11T10:12:23.672" v="251" actId="47"/>
        <pc:sldMkLst>
          <pc:docMk/>
          <pc:sldMk cId="3866198253" sldId="389"/>
        </pc:sldMkLst>
      </pc:sldChg>
      <pc:sldChg chg="del">
        <pc:chgData name="Thomas Stensitzki" userId="75cafe6b-2f2a-469b-85c4-eec3b9c972ba" providerId="ADAL" clId="{363DE228-8D93-47E2-A1D5-6CB8C68569A9}" dt="2021-04-11T10:12:23.672" v="251" actId="47"/>
        <pc:sldMkLst>
          <pc:docMk/>
          <pc:sldMk cId="1281650883" sldId="390"/>
        </pc:sldMkLst>
      </pc:sldChg>
      <pc:sldChg chg="del">
        <pc:chgData name="Thomas Stensitzki" userId="75cafe6b-2f2a-469b-85c4-eec3b9c972ba" providerId="ADAL" clId="{363DE228-8D93-47E2-A1D5-6CB8C68569A9}" dt="2021-04-11T10:12:47.564" v="253" actId="47"/>
        <pc:sldMkLst>
          <pc:docMk/>
          <pc:sldMk cId="2585887928" sldId="391"/>
        </pc:sldMkLst>
      </pc:sldChg>
      <pc:sldChg chg="addSp">
        <pc:chgData name="Thomas Stensitzki" userId="75cafe6b-2f2a-469b-85c4-eec3b9c972ba" providerId="ADAL" clId="{363DE228-8D93-47E2-A1D5-6CB8C68569A9}" dt="2021-04-11T10:16:07.641" v="330"/>
        <pc:sldMkLst>
          <pc:docMk/>
          <pc:sldMk cId="1406229965" sldId="392"/>
        </pc:sldMkLst>
        <pc:picChg chg="add">
          <ac:chgData name="Thomas Stensitzki" userId="75cafe6b-2f2a-469b-85c4-eec3b9c972ba" providerId="ADAL" clId="{363DE228-8D93-47E2-A1D5-6CB8C68569A9}" dt="2021-04-11T10:16:07.641" v="330"/>
          <ac:picMkLst>
            <pc:docMk/>
            <pc:sldMk cId="1406229965" sldId="392"/>
            <ac:picMk id="1026" creationId="{043285E5-2210-4AFC-A5D8-BFCD39482712}"/>
          </ac:picMkLst>
        </pc:picChg>
      </pc:sldChg>
      <pc:sldChg chg="delSp modSp add del mod">
        <pc:chgData name="Thomas Stensitzki" userId="75cafe6b-2f2a-469b-85c4-eec3b9c972ba" providerId="ADAL" clId="{363DE228-8D93-47E2-A1D5-6CB8C68569A9}" dt="2021-04-11T12:38:00.651" v="2462" actId="1440"/>
        <pc:sldMkLst>
          <pc:docMk/>
          <pc:sldMk cId="2708846828" sldId="392"/>
        </pc:sldMkLst>
        <pc:spChg chg="mod">
          <ac:chgData name="Thomas Stensitzki" userId="75cafe6b-2f2a-469b-85c4-eec3b9c972ba" providerId="ADAL" clId="{363DE228-8D93-47E2-A1D5-6CB8C68569A9}" dt="2021-04-11T10:16:00.891" v="329"/>
          <ac:spMkLst>
            <pc:docMk/>
            <pc:sldMk cId="2708846828" sldId="392"/>
            <ac:spMk id="2" creationId="{11E5EEC8-6493-4BA0-8811-4A3F48FE62AF}"/>
          </ac:spMkLst>
        </pc:spChg>
        <pc:picChg chg="del">
          <ac:chgData name="Thomas Stensitzki" userId="75cafe6b-2f2a-469b-85c4-eec3b9c972ba" providerId="ADAL" clId="{363DE228-8D93-47E2-A1D5-6CB8C68569A9}" dt="2021-04-11T10:15:44.410" v="327" actId="478"/>
          <ac:picMkLst>
            <pc:docMk/>
            <pc:sldMk cId="2708846828" sldId="392"/>
            <ac:picMk id="4" creationId="{4F4D8847-2D1E-4810-BA5F-7518BE667DB4}"/>
          </ac:picMkLst>
        </pc:picChg>
        <pc:picChg chg="mod">
          <ac:chgData name="Thomas Stensitzki" userId="75cafe6b-2f2a-469b-85c4-eec3b9c972ba" providerId="ADAL" clId="{363DE228-8D93-47E2-A1D5-6CB8C68569A9}" dt="2021-04-11T12:38:00.651" v="2462" actId="1440"/>
          <ac:picMkLst>
            <pc:docMk/>
            <pc:sldMk cId="2708846828" sldId="392"/>
            <ac:picMk id="1026" creationId="{043285E5-2210-4AFC-A5D8-BFCD39482712}"/>
          </ac:picMkLst>
        </pc:picChg>
      </pc:sldChg>
      <pc:sldChg chg="del">
        <pc:chgData name="Thomas Stensitzki" userId="75cafe6b-2f2a-469b-85c4-eec3b9c972ba" providerId="ADAL" clId="{363DE228-8D93-47E2-A1D5-6CB8C68569A9}" dt="2021-04-11T10:12:37.717" v="252" actId="47"/>
        <pc:sldMkLst>
          <pc:docMk/>
          <pc:sldMk cId="63085039" sldId="393"/>
        </pc:sldMkLst>
      </pc:sldChg>
      <pc:sldChg chg="del">
        <pc:chgData name="Thomas Stensitzki" userId="75cafe6b-2f2a-469b-85c4-eec3b9c972ba" providerId="ADAL" clId="{363DE228-8D93-47E2-A1D5-6CB8C68569A9}" dt="2021-04-11T10:12:37.717" v="252" actId="47"/>
        <pc:sldMkLst>
          <pc:docMk/>
          <pc:sldMk cId="3125518215" sldId="394"/>
        </pc:sldMkLst>
      </pc:sldChg>
      <pc:sldChg chg="del">
        <pc:chgData name="Thomas Stensitzki" userId="75cafe6b-2f2a-469b-85c4-eec3b9c972ba" providerId="ADAL" clId="{363DE228-8D93-47E2-A1D5-6CB8C68569A9}" dt="2021-04-11T10:12:47.564" v="253" actId="47"/>
        <pc:sldMkLst>
          <pc:docMk/>
          <pc:sldMk cId="3389754536" sldId="395"/>
        </pc:sldMkLst>
      </pc:sldChg>
      <pc:sldChg chg="del">
        <pc:chgData name="Thomas Stensitzki" userId="75cafe6b-2f2a-469b-85c4-eec3b9c972ba" providerId="ADAL" clId="{363DE228-8D93-47E2-A1D5-6CB8C68569A9}" dt="2021-04-11T10:12:47.564" v="253" actId="47"/>
        <pc:sldMkLst>
          <pc:docMk/>
          <pc:sldMk cId="3169144543" sldId="397"/>
        </pc:sldMkLst>
      </pc:sldChg>
      <pc:sldChg chg="del">
        <pc:chgData name="Thomas Stensitzki" userId="75cafe6b-2f2a-469b-85c4-eec3b9c972ba" providerId="ADAL" clId="{363DE228-8D93-47E2-A1D5-6CB8C68569A9}" dt="2021-04-11T10:12:37.717" v="252" actId="47"/>
        <pc:sldMkLst>
          <pc:docMk/>
          <pc:sldMk cId="482102076" sldId="398"/>
        </pc:sldMkLst>
      </pc:sldChg>
      <pc:sldChg chg="del">
        <pc:chgData name="Thomas Stensitzki" userId="75cafe6b-2f2a-469b-85c4-eec3b9c972ba" providerId="ADAL" clId="{363DE228-8D93-47E2-A1D5-6CB8C68569A9}" dt="2021-04-11T10:12:37.717" v="252" actId="47"/>
        <pc:sldMkLst>
          <pc:docMk/>
          <pc:sldMk cId="3771242240" sldId="399"/>
        </pc:sldMkLst>
      </pc:sldChg>
      <pc:sldChg chg="del">
        <pc:chgData name="Thomas Stensitzki" userId="75cafe6b-2f2a-469b-85c4-eec3b9c972ba" providerId="ADAL" clId="{363DE228-8D93-47E2-A1D5-6CB8C68569A9}" dt="2021-04-11T10:12:37.717" v="252" actId="47"/>
        <pc:sldMkLst>
          <pc:docMk/>
          <pc:sldMk cId="425308375" sldId="400"/>
        </pc:sldMkLst>
      </pc:sldChg>
      <pc:sldChg chg="del">
        <pc:chgData name="Thomas Stensitzki" userId="75cafe6b-2f2a-469b-85c4-eec3b9c972ba" providerId="ADAL" clId="{363DE228-8D93-47E2-A1D5-6CB8C68569A9}" dt="2021-04-11T10:12:37.717" v="252" actId="47"/>
        <pc:sldMkLst>
          <pc:docMk/>
          <pc:sldMk cId="3556353505" sldId="402"/>
        </pc:sldMkLst>
      </pc:sldChg>
      <pc:sldChg chg="del">
        <pc:chgData name="Thomas Stensitzki" userId="75cafe6b-2f2a-469b-85c4-eec3b9c972ba" providerId="ADAL" clId="{363DE228-8D93-47E2-A1D5-6CB8C68569A9}" dt="2021-04-11T10:12:47.564" v="253" actId="47"/>
        <pc:sldMkLst>
          <pc:docMk/>
          <pc:sldMk cId="3957297632" sldId="403"/>
        </pc:sldMkLst>
      </pc:sldChg>
      <pc:sldChg chg="del">
        <pc:chgData name="Thomas Stensitzki" userId="75cafe6b-2f2a-469b-85c4-eec3b9c972ba" providerId="ADAL" clId="{363DE228-8D93-47E2-A1D5-6CB8C68569A9}" dt="2021-04-11T10:12:15.495" v="250" actId="47"/>
        <pc:sldMkLst>
          <pc:docMk/>
          <pc:sldMk cId="4270566703" sldId="404"/>
        </pc:sldMkLst>
      </pc:sldChg>
      <pc:sldChg chg="del">
        <pc:chgData name="Thomas Stensitzki" userId="75cafe6b-2f2a-469b-85c4-eec3b9c972ba" providerId="ADAL" clId="{363DE228-8D93-47E2-A1D5-6CB8C68569A9}" dt="2021-04-11T10:12:15.495" v="250" actId="47"/>
        <pc:sldMkLst>
          <pc:docMk/>
          <pc:sldMk cId="21006271" sldId="405"/>
        </pc:sldMkLst>
      </pc:sldChg>
      <pc:sldChg chg="del">
        <pc:chgData name="Thomas Stensitzki" userId="75cafe6b-2f2a-469b-85c4-eec3b9c972ba" providerId="ADAL" clId="{363DE228-8D93-47E2-A1D5-6CB8C68569A9}" dt="2021-04-11T10:12:15.495" v="250" actId="47"/>
        <pc:sldMkLst>
          <pc:docMk/>
          <pc:sldMk cId="550572939" sldId="406"/>
        </pc:sldMkLst>
      </pc:sldChg>
      <pc:sldChg chg="del">
        <pc:chgData name="Thomas Stensitzki" userId="75cafe6b-2f2a-469b-85c4-eec3b9c972ba" providerId="ADAL" clId="{363DE228-8D93-47E2-A1D5-6CB8C68569A9}" dt="2021-04-11T10:12:15.495" v="250" actId="47"/>
        <pc:sldMkLst>
          <pc:docMk/>
          <pc:sldMk cId="3064330710" sldId="407"/>
        </pc:sldMkLst>
      </pc:sldChg>
      <pc:sldChg chg="del">
        <pc:chgData name="Thomas Stensitzki" userId="75cafe6b-2f2a-469b-85c4-eec3b9c972ba" providerId="ADAL" clId="{363DE228-8D93-47E2-A1D5-6CB8C68569A9}" dt="2021-04-11T10:12:23.672" v="251" actId="47"/>
        <pc:sldMkLst>
          <pc:docMk/>
          <pc:sldMk cId="1323954105" sldId="408"/>
        </pc:sldMkLst>
      </pc:sldChg>
      <pc:sldChg chg="del">
        <pc:chgData name="Thomas Stensitzki" userId="75cafe6b-2f2a-469b-85c4-eec3b9c972ba" providerId="ADAL" clId="{363DE228-8D93-47E2-A1D5-6CB8C68569A9}" dt="2021-04-11T10:12:23.672" v="251" actId="47"/>
        <pc:sldMkLst>
          <pc:docMk/>
          <pc:sldMk cId="974386544" sldId="409"/>
        </pc:sldMkLst>
      </pc:sldChg>
      <pc:sldChg chg="del">
        <pc:chgData name="Thomas Stensitzki" userId="75cafe6b-2f2a-469b-85c4-eec3b9c972ba" providerId="ADAL" clId="{363DE228-8D93-47E2-A1D5-6CB8C68569A9}" dt="2021-04-11T10:12:23.672" v="251" actId="47"/>
        <pc:sldMkLst>
          <pc:docMk/>
          <pc:sldMk cId="179439695" sldId="410"/>
        </pc:sldMkLst>
      </pc:sldChg>
      <pc:sldChg chg="del">
        <pc:chgData name="Thomas Stensitzki" userId="75cafe6b-2f2a-469b-85c4-eec3b9c972ba" providerId="ADAL" clId="{363DE228-8D93-47E2-A1D5-6CB8C68569A9}" dt="2021-04-11T10:12:23.672" v="251" actId="47"/>
        <pc:sldMkLst>
          <pc:docMk/>
          <pc:sldMk cId="3385880885" sldId="411"/>
        </pc:sldMkLst>
      </pc:sldChg>
      <pc:sldChg chg="del">
        <pc:chgData name="Thomas Stensitzki" userId="75cafe6b-2f2a-469b-85c4-eec3b9c972ba" providerId="ADAL" clId="{363DE228-8D93-47E2-A1D5-6CB8C68569A9}" dt="2021-04-11T10:12:23.672" v="251" actId="47"/>
        <pc:sldMkLst>
          <pc:docMk/>
          <pc:sldMk cId="439447182" sldId="412"/>
        </pc:sldMkLst>
      </pc:sldChg>
      <pc:sldChg chg="del">
        <pc:chgData name="Thomas Stensitzki" userId="75cafe6b-2f2a-469b-85c4-eec3b9c972ba" providerId="ADAL" clId="{363DE228-8D93-47E2-A1D5-6CB8C68569A9}" dt="2021-04-11T10:12:37.717" v="252" actId="47"/>
        <pc:sldMkLst>
          <pc:docMk/>
          <pc:sldMk cId="2971012066" sldId="413"/>
        </pc:sldMkLst>
      </pc:sldChg>
      <pc:sldChg chg="del">
        <pc:chgData name="Thomas Stensitzki" userId="75cafe6b-2f2a-469b-85c4-eec3b9c972ba" providerId="ADAL" clId="{363DE228-8D93-47E2-A1D5-6CB8C68569A9}" dt="2021-04-11T10:12:37.717" v="252" actId="47"/>
        <pc:sldMkLst>
          <pc:docMk/>
          <pc:sldMk cId="1183984408" sldId="414"/>
        </pc:sldMkLst>
      </pc:sldChg>
      <pc:sldChg chg="del">
        <pc:chgData name="Thomas Stensitzki" userId="75cafe6b-2f2a-469b-85c4-eec3b9c972ba" providerId="ADAL" clId="{363DE228-8D93-47E2-A1D5-6CB8C68569A9}" dt="2021-04-11T10:12:37.717" v="252" actId="47"/>
        <pc:sldMkLst>
          <pc:docMk/>
          <pc:sldMk cId="1388017731" sldId="415"/>
        </pc:sldMkLst>
      </pc:sldChg>
      <pc:sldChg chg="del">
        <pc:chgData name="Thomas Stensitzki" userId="75cafe6b-2f2a-469b-85c4-eec3b9c972ba" providerId="ADAL" clId="{363DE228-8D93-47E2-A1D5-6CB8C68569A9}" dt="2021-04-11T10:12:37.717" v="252" actId="47"/>
        <pc:sldMkLst>
          <pc:docMk/>
          <pc:sldMk cId="1390187629" sldId="416"/>
        </pc:sldMkLst>
      </pc:sldChg>
      <pc:sldChg chg="del">
        <pc:chgData name="Thomas Stensitzki" userId="75cafe6b-2f2a-469b-85c4-eec3b9c972ba" providerId="ADAL" clId="{363DE228-8D93-47E2-A1D5-6CB8C68569A9}" dt="2021-04-11T10:12:37.717" v="252" actId="47"/>
        <pc:sldMkLst>
          <pc:docMk/>
          <pc:sldMk cId="3737910627" sldId="417"/>
        </pc:sldMkLst>
      </pc:sldChg>
      <pc:sldChg chg="del">
        <pc:chgData name="Thomas Stensitzki" userId="75cafe6b-2f2a-469b-85c4-eec3b9c972ba" providerId="ADAL" clId="{363DE228-8D93-47E2-A1D5-6CB8C68569A9}" dt="2021-04-11T10:12:37.717" v="252" actId="47"/>
        <pc:sldMkLst>
          <pc:docMk/>
          <pc:sldMk cId="1540827525" sldId="418"/>
        </pc:sldMkLst>
      </pc:sldChg>
      <pc:sldChg chg="del">
        <pc:chgData name="Thomas Stensitzki" userId="75cafe6b-2f2a-469b-85c4-eec3b9c972ba" providerId="ADAL" clId="{363DE228-8D93-47E2-A1D5-6CB8C68569A9}" dt="2021-04-11T10:12:47.564" v="253" actId="47"/>
        <pc:sldMkLst>
          <pc:docMk/>
          <pc:sldMk cId="2335610676" sldId="419"/>
        </pc:sldMkLst>
      </pc:sldChg>
      <pc:sldChg chg="del">
        <pc:chgData name="Thomas Stensitzki" userId="75cafe6b-2f2a-469b-85c4-eec3b9c972ba" providerId="ADAL" clId="{363DE228-8D93-47E2-A1D5-6CB8C68569A9}" dt="2021-04-11T10:12:47.564" v="253" actId="47"/>
        <pc:sldMkLst>
          <pc:docMk/>
          <pc:sldMk cId="1865896873" sldId="420"/>
        </pc:sldMkLst>
      </pc:sldChg>
      <pc:sldChg chg="del">
        <pc:chgData name="Thomas Stensitzki" userId="75cafe6b-2f2a-469b-85c4-eec3b9c972ba" providerId="ADAL" clId="{363DE228-8D93-47E2-A1D5-6CB8C68569A9}" dt="2021-04-11T10:12:47.564" v="253" actId="47"/>
        <pc:sldMkLst>
          <pc:docMk/>
          <pc:sldMk cId="1524395293" sldId="421"/>
        </pc:sldMkLst>
      </pc:sldChg>
      <pc:sldChg chg="del">
        <pc:chgData name="Thomas Stensitzki" userId="75cafe6b-2f2a-469b-85c4-eec3b9c972ba" providerId="ADAL" clId="{363DE228-8D93-47E2-A1D5-6CB8C68569A9}" dt="2021-04-11T10:12:47.564" v="253" actId="47"/>
        <pc:sldMkLst>
          <pc:docMk/>
          <pc:sldMk cId="1280545839" sldId="422"/>
        </pc:sldMkLst>
      </pc:sldChg>
      <pc:sldChg chg="del">
        <pc:chgData name="Thomas Stensitzki" userId="75cafe6b-2f2a-469b-85c4-eec3b9c972ba" providerId="ADAL" clId="{363DE228-8D93-47E2-A1D5-6CB8C68569A9}" dt="2021-04-11T10:12:47.564" v="253" actId="47"/>
        <pc:sldMkLst>
          <pc:docMk/>
          <pc:sldMk cId="3310606032" sldId="423"/>
        </pc:sldMkLst>
      </pc:sldChg>
      <pc:sldChg chg="del">
        <pc:chgData name="Thomas Stensitzki" userId="75cafe6b-2f2a-469b-85c4-eec3b9c972ba" providerId="ADAL" clId="{363DE228-8D93-47E2-A1D5-6CB8C68569A9}" dt="2021-04-11T10:12:47.564" v="253" actId="47"/>
        <pc:sldMkLst>
          <pc:docMk/>
          <pc:sldMk cId="2775711133" sldId="424"/>
        </pc:sldMkLst>
      </pc:sldChg>
      <pc:sldChg chg="del">
        <pc:chgData name="Thomas Stensitzki" userId="75cafe6b-2f2a-469b-85c4-eec3b9c972ba" providerId="ADAL" clId="{363DE228-8D93-47E2-A1D5-6CB8C68569A9}" dt="2021-04-11T10:12:47.564" v="253" actId="47"/>
        <pc:sldMkLst>
          <pc:docMk/>
          <pc:sldMk cId="1206553185" sldId="425"/>
        </pc:sldMkLst>
      </pc:sldChg>
      <pc:sldChg chg="add ord">
        <pc:chgData name="Thomas Stensitzki" userId="75cafe6b-2f2a-469b-85c4-eec3b9c972ba" providerId="ADAL" clId="{363DE228-8D93-47E2-A1D5-6CB8C68569A9}" dt="2021-04-11T10:05:13.963" v="65"/>
        <pc:sldMkLst>
          <pc:docMk/>
          <pc:sldMk cId="3890497020" sldId="426"/>
        </pc:sldMkLst>
      </pc:sldChg>
      <pc:sldChg chg="addSp delSp modSp add del mod chgLayout modNotesTx">
        <pc:chgData name="Thomas Stensitzki" userId="75cafe6b-2f2a-469b-85c4-eec3b9c972ba" providerId="ADAL" clId="{363DE228-8D93-47E2-A1D5-6CB8C68569A9}" dt="2021-04-13T15:59:43.896" v="2947" actId="27636"/>
        <pc:sldMkLst>
          <pc:docMk/>
          <pc:sldMk cId="1307627255" sldId="427"/>
        </pc:sldMkLst>
        <pc:spChg chg="mod ord">
          <ac:chgData name="Thomas Stensitzki" userId="75cafe6b-2f2a-469b-85c4-eec3b9c972ba" providerId="ADAL" clId="{363DE228-8D93-47E2-A1D5-6CB8C68569A9}" dt="2021-04-11T10:42:39.361" v="816" actId="700"/>
          <ac:spMkLst>
            <pc:docMk/>
            <pc:sldMk cId="1307627255" sldId="427"/>
            <ac:spMk id="2" creationId="{50183ADD-E6D0-4570-B5FB-F95BA9130DEC}"/>
          </ac:spMkLst>
        </pc:spChg>
        <pc:spChg chg="add mod ord">
          <ac:chgData name="Thomas Stensitzki" userId="75cafe6b-2f2a-469b-85c4-eec3b9c972ba" providerId="ADAL" clId="{363DE228-8D93-47E2-A1D5-6CB8C68569A9}" dt="2021-04-13T15:59:43.896" v="2947" actId="27636"/>
          <ac:spMkLst>
            <pc:docMk/>
            <pc:sldMk cId="1307627255" sldId="427"/>
            <ac:spMk id="4" creationId="{22414E82-0501-4D9C-BD26-C17C4F59F20E}"/>
          </ac:spMkLst>
        </pc:spChg>
        <pc:spChg chg="add del mod">
          <ac:chgData name="Thomas Stensitzki" userId="75cafe6b-2f2a-469b-85c4-eec3b9c972ba" providerId="ADAL" clId="{363DE228-8D93-47E2-A1D5-6CB8C68569A9}" dt="2021-04-11T10:42:35.186" v="815" actId="478"/>
          <ac:spMkLst>
            <pc:docMk/>
            <pc:sldMk cId="1307627255" sldId="427"/>
            <ac:spMk id="5" creationId="{937AE2D3-5993-4F10-8262-EC45EBE8933B}"/>
          </ac:spMkLst>
        </pc:spChg>
        <pc:picChg chg="del mod">
          <ac:chgData name="Thomas Stensitzki" userId="75cafe6b-2f2a-469b-85c4-eec3b9c972ba" providerId="ADAL" clId="{363DE228-8D93-47E2-A1D5-6CB8C68569A9}" dt="2021-04-11T10:14:55.954" v="301" actId="478"/>
          <ac:picMkLst>
            <pc:docMk/>
            <pc:sldMk cId="1307627255" sldId="427"/>
            <ac:picMk id="1026" creationId="{6F4D62F5-9A7A-4568-B0C8-37200F0AADF0}"/>
          </ac:picMkLst>
        </pc:picChg>
        <pc:picChg chg="mod">
          <ac:chgData name="Thomas Stensitzki" userId="75cafe6b-2f2a-469b-85c4-eec3b9c972ba" providerId="ADAL" clId="{363DE228-8D93-47E2-A1D5-6CB8C68569A9}" dt="2021-04-13T15:59:39.739" v="2945" actId="1076"/>
          <ac:picMkLst>
            <pc:docMk/>
            <pc:sldMk cId="1307627255" sldId="427"/>
            <ac:picMk id="4098" creationId="{E10E7EF9-2BD3-4FE4-ACFA-F552284841ED}"/>
          </ac:picMkLst>
        </pc:picChg>
      </pc:sldChg>
      <pc:sldChg chg="addSp">
        <pc:chgData name="Thomas Stensitzki" userId="75cafe6b-2f2a-469b-85c4-eec3b9c972ba" providerId="ADAL" clId="{363DE228-8D93-47E2-A1D5-6CB8C68569A9}" dt="2021-04-11T10:41:15.968" v="807"/>
        <pc:sldMkLst>
          <pc:docMk/>
          <pc:sldMk cId="3881097693" sldId="427"/>
        </pc:sldMkLst>
        <pc:picChg chg="add">
          <ac:chgData name="Thomas Stensitzki" userId="75cafe6b-2f2a-469b-85c4-eec3b9c972ba" providerId="ADAL" clId="{363DE228-8D93-47E2-A1D5-6CB8C68569A9}" dt="2021-04-11T10:41:15.968" v="807"/>
          <ac:picMkLst>
            <pc:docMk/>
            <pc:sldMk cId="3881097693" sldId="427"/>
            <ac:picMk id="4098" creationId="{E10E7EF9-2BD3-4FE4-ACFA-F552284841ED}"/>
          </ac:picMkLst>
        </pc:picChg>
      </pc:sldChg>
      <pc:sldChg chg="addSp modSp add del mod modNotesTx">
        <pc:chgData name="Thomas Stensitzki" userId="75cafe6b-2f2a-469b-85c4-eec3b9c972ba" providerId="ADAL" clId="{363DE228-8D93-47E2-A1D5-6CB8C68569A9}" dt="2021-04-11T12:37:57.319" v="2460" actId="1440"/>
        <pc:sldMkLst>
          <pc:docMk/>
          <pc:sldMk cId="2443006273" sldId="428"/>
        </pc:sldMkLst>
        <pc:spChg chg="mod">
          <ac:chgData name="Thomas Stensitzki" userId="75cafe6b-2f2a-469b-85c4-eec3b9c972ba" providerId="ADAL" clId="{363DE228-8D93-47E2-A1D5-6CB8C68569A9}" dt="2021-04-11T10:27:12.244" v="627"/>
          <ac:spMkLst>
            <pc:docMk/>
            <pc:sldMk cId="2443006273" sldId="428"/>
            <ac:spMk id="2" creationId="{11E5EEC8-6493-4BA0-8811-4A3F48FE62AF}"/>
          </ac:spMkLst>
        </pc:spChg>
        <pc:spChg chg="add mod">
          <ac:chgData name="Thomas Stensitzki" userId="75cafe6b-2f2a-469b-85c4-eec3b9c972ba" providerId="ADAL" clId="{363DE228-8D93-47E2-A1D5-6CB8C68569A9}" dt="2021-04-11T10:31:19.642" v="681" actId="6549"/>
          <ac:spMkLst>
            <pc:docMk/>
            <pc:sldMk cId="2443006273" sldId="428"/>
            <ac:spMk id="5" creationId="{6A8D1552-1696-486B-9964-CEA61DEFC042}"/>
          </ac:spMkLst>
        </pc:spChg>
        <pc:picChg chg="mod">
          <ac:chgData name="Thomas Stensitzki" userId="75cafe6b-2f2a-469b-85c4-eec3b9c972ba" providerId="ADAL" clId="{363DE228-8D93-47E2-A1D5-6CB8C68569A9}" dt="2021-04-11T12:37:57.319" v="2460" actId="1440"/>
          <ac:picMkLst>
            <pc:docMk/>
            <pc:sldMk cId="2443006273" sldId="428"/>
            <ac:picMk id="3074" creationId="{34C63600-63F4-4247-8C21-941F3DD71546}"/>
          </ac:picMkLst>
        </pc:picChg>
      </pc:sldChg>
      <pc:sldChg chg="addSp">
        <pc:chgData name="Thomas Stensitzki" userId="75cafe6b-2f2a-469b-85c4-eec3b9c972ba" providerId="ADAL" clId="{363DE228-8D93-47E2-A1D5-6CB8C68569A9}" dt="2021-04-11T10:27:22.852" v="628"/>
        <pc:sldMkLst>
          <pc:docMk/>
          <pc:sldMk cId="4115615431" sldId="428"/>
        </pc:sldMkLst>
        <pc:picChg chg="add">
          <ac:chgData name="Thomas Stensitzki" userId="75cafe6b-2f2a-469b-85c4-eec3b9c972ba" providerId="ADAL" clId="{363DE228-8D93-47E2-A1D5-6CB8C68569A9}" dt="2021-04-11T10:27:22.852" v="628"/>
          <ac:picMkLst>
            <pc:docMk/>
            <pc:sldMk cId="4115615431" sldId="428"/>
            <ac:picMk id="3074" creationId="{34C63600-63F4-4247-8C21-941F3DD71546}"/>
          </ac:picMkLst>
        </pc:picChg>
      </pc:sldChg>
      <pc:sldChg chg="addSp">
        <pc:chgData name="Thomas Stensitzki" userId="75cafe6b-2f2a-469b-85c4-eec3b9c972ba" providerId="ADAL" clId="{363DE228-8D93-47E2-A1D5-6CB8C68569A9}" dt="2021-04-11T10:16:41.322" v="337"/>
        <pc:sldMkLst>
          <pc:docMk/>
          <pc:sldMk cId="257568806" sldId="429"/>
        </pc:sldMkLst>
        <pc:picChg chg="add">
          <ac:chgData name="Thomas Stensitzki" userId="75cafe6b-2f2a-469b-85c4-eec3b9c972ba" providerId="ADAL" clId="{363DE228-8D93-47E2-A1D5-6CB8C68569A9}" dt="2021-04-11T10:16:41.322" v="337"/>
          <ac:picMkLst>
            <pc:docMk/>
            <pc:sldMk cId="257568806" sldId="429"/>
            <ac:picMk id="2050" creationId="{44379D87-0985-4BAA-A1C6-AD5BA2780059}"/>
          </ac:picMkLst>
        </pc:picChg>
      </pc:sldChg>
      <pc:sldChg chg="addSp delSp modSp add del mod">
        <pc:chgData name="Thomas Stensitzki" userId="75cafe6b-2f2a-469b-85c4-eec3b9c972ba" providerId="ADAL" clId="{363DE228-8D93-47E2-A1D5-6CB8C68569A9}" dt="2021-04-11T12:37:59.075" v="2461" actId="1440"/>
        <pc:sldMkLst>
          <pc:docMk/>
          <pc:sldMk cId="3040654567" sldId="429"/>
        </pc:sldMkLst>
        <pc:spChg chg="add mod">
          <ac:chgData name="Thomas Stensitzki" userId="75cafe6b-2f2a-469b-85c4-eec3b9c972ba" providerId="ADAL" clId="{363DE228-8D93-47E2-A1D5-6CB8C68569A9}" dt="2021-04-11T10:19:35.267" v="612" actId="20577"/>
          <ac:spMkLst>
            <pc:docMk/>
            <pc:sldMk cId="3040654567" sldId="429"/>
            <ac:spMk id="3" creationId="{66725B6B-F40C-4F81-ABCA-FC50364EDBC2}"/>
          </ac:spMkLst>
        </pc:spChg>
        <pc:spChg chg="add del">
          <ac:chgData name="Thomas Stensitzki" userId="75cafe6b-2f2a-469b-85c4-eec3b9c972ba" providerId="ADAL" clId="{363DE228-8D93-47E2-A1D5-6CB8C68569A9}" dt="2021-04-11T10:16:37.131" v="336" actId="22"/>
          <ac:spMkLst>
            <pc:docMk/>
            <pc:sldMk cId="3040654567" sldId="429"/>
            <ac:spMk id="5" creationId="{0C6DCA73-62BB-477D-863C-3DFE0A9D7608}"/>
          </ac:spMkLst>
        </pc:spChg>
        <pc:picChg chg="del">
          <ac:chgData name="Thomas Stensitzki" userId="75cafe6b-2f2a-469b-85c4-eec3b9c972ba" providerId="ADAL" clId="{363DE228-8D93-47E2-A1D5-6CB8C68569A9}" dt="2021-04-11T10:16:27.676" v="334" actId="478"/>
          <ac:picMkLst>
            <pc:docMk/>
            <pc:sldMk cId="3040654567" sldId="429"/>
            <ac:picMk id="1026" creationId="{043285E5-2210-4AFC-A5D8-BFCD39482712}"/>
          </ac:picMkLst>
        </pc:picChg>
        <pc:picChg chg="mod">
          <ac:chgData name="Thomas Stensitzki" userId="75cafe6b-2f2a-469b-85c4-eec3b9c972ba" providerId="ADAL" clId="{363DE228-8D93-47E2-A1D5-6CB8C68569A9}" dt="2021-04-11T12:37:59.075" v="2461" actId="1440"/>
          <ac:picMkLst>
            <pc:docMk/>
            <pc:sldMk cId="3040654567" sldId="429"/>
            <ac:picMk id="2050" creationId="{44379D87-0985-4BAA-A1C6-AD5BA2780059}"/>
          </ac:picMkLst>
        </pc:picChg>
      </pc:sldChg>
      <pc:sldChg chg="addSp modSp add mod chgLayout">
        <pc:chgData name="Thomas Stensitzki" userId="75cafe6b-2f2a-469b-85c4-eec3b9c972ba" providerId="ADAL" clId="{363DE228-8D93-47E2-A1D5-6CB8C68569A9}" dt="2021-04-11T10:50:10.484" v="1088" actId="20577"/>
        <pc:sldMkLst>
          <pc:docMk/>
          <pc:sldMk cId="4042123349" sldId="430"/>
        </pc:sldMkLst>
        <pc:spChg chg="mod ord">
          <ac:chgData name="Thomas Stensitzki" userId="75cafe6b-2f2a-469b-85c4-eec3b9c972ba" providerId="ADAL" clId="{363DE228-8D93-47E2-A1D5-6CB8C68569A9}" dt="2021-04-11T10:48:03.879" v="899" actId="700"/>
          <ac:spMkLst>
            <pc:docMk/>
            <pc:sldMk cId="4042123349" sldId="430"/>
            <ac:spMk id="2" creationId="{11E5EEC8-6493-4BA0-8811-4A3F48FE62AF}"/>
          </ac:spMkLst>
        </pc:spChg>
        <pc:spChg chg="add mod ord">
          <ac:chgData name="Thomas Stensitzki" userId="75cafe6b-2f2a-469b-85c4-eec3b9c972ba" providerId="ADAL" clId="{363DE228-8D93-47E2-A1D5-6CB8C68569A9}" dt="2021-04-11T10:50:10.484" v="1088" actId="20577"/>
          <ac:spMkLst>
            <pc:docMk/>
            <pc:sldMk cId="4042123349" sldId="430"/>
            <ac:spMk id="3" creationId="{C38F2182-44D9-4C66-929D-0A2EE829EF3E}"/>
          </ac:spMkLst>
        </pc:spChg>
      </pc:sldChg>
      <pc:sldChg chg="modSp add del mod modNotesTx">
        <pc:chgData name="Thomas Stensitzki" userId="75cafe6b-2f2a-469b-85c4-eec3b9c972ba" providerId="ADAL" clId="{363DE228-8D93-47E2-A1D5-6CB8C68569A9}" dt="2021-04-13T16:19:07.791" v="3796" actId="1076"/>
        <pc:sldMkLst>
          <pc:docMk/>
          <pc:sldMk cId="1699899763" sldId="431"/>
        </pc:sldMkLst>
        <pc:spChg chg="mod">
          <ac:chgData name="Thomas Stensitzki" userId="75cafe6b-2f2a-469b-85c4-eec3b9c972ba" providerId="ADAL" clId="{363DE228-8D93-47E2-A1D5-6CB8C68569A9}" dt="2021-04-11T10:51:40.680" v="1108"/>
          <ac:spMkLst>
            <pc:docMk/>
            <pc:sldMk cId="1699899763" sldId="431"/>
            <ac:spMk id="2" creationId="{50183ADD-E6D0-4570-B5FB-F95BA9130DEC}"/>
          </ac:spMkLst>
        </pc:spChg>
        <pc:picChg chg="mod">
          <ac:chgData name="Thomas Stensitzki" userId="75cafe6b-2f2a-469b-85c4-eec3b9c972ba" providerId="ADAL" clId="{363DE228-8D93-47E2-A1D5-6CB8C68569A9}" dt="2021-04-13T16:19:07.791" v="3796" actId="1076"/>
          <ac:picMkLst>
            <pc:docMk/>
            <pc:sldMk cId="1699899763" sldId="431"/>
            <ac:picMk id="5122" creationId="{82A7607B-48A8-4617-A3AC-D6ECE7081D09}"/>
          </ac:picMkLst>
        </pc:picChg>
      </pc:sldChg>
      <pc:sldChg chg="addSp delSp modSp add del mod chgLayout">
        <pc:chgData name="Thomas Stensitzki" userId="75cafe6b-2f2a-469b-85c4-eec3b9c972ba" providerId="ADAL" clId="{363DE228-8D93-47E2-A1D5-6CB8C68569A9}" dt="2021-04-11T10:29:44.337" v="658" actId="2696"/>
        <pc:sldMkLst>
          <pc:docMk/>
          <pc:sldMk cId="3240557133" sldId="431"/>
        </pc:sldMkLst>
        <pc:spChg chg="mod ord">
          <ac:chgData name="Thomas Stensitzki" userId="75cafe6b-2f2a-469b-85c4-eec3b9c972ba" providerId="ADAL" clId="{363DE228-8D93-47E2-A1D5-6CB8C68569A9}" dt="2021-04-11T10:28:22.183" v="634" actId="700"/>
          <ac:spMkLst>
            <pc:docMk/>
            <pc:sldMk cId="3240557133" sldId="431"/>
            <ac:spMk id="2" creationId="{11E5EEC8-6493-4BA0-8811-4A3F48FE62AF}"/>
          </ac:spMkLst>
        </pc:spChg>
        <pc:spChg chg="add mod ord">
          <ac:chgData name="Thomas Stensitzki" userId="75cafe6b-2f2a-469b-85c4-eec3b9c972ba" providerId="ADAL" clId="{363DE228-8D93-47E2-A1D5-6CB8C68569A9}" dt="2021-04-11T10:29:15.899" v="657" actId="20577"/>
          <ac:spMkLst>
            <pc:docMk/>
            <pc:sldMk cId="3240557133" sldId="431"/>
            <ac:spMk id="3" creationId="{45908EBD-EAC5-4CB4-94A5-D30E0B68152C}"/>
          </ac:spMkLst>
        </pc:spChg>
        <pc:picChg chg="del">
          <ac:chgData name="Thomas Stensitzki" userId="75cafe6b-2f2a-469b-85c4-eec3b9c972ba" providerId="ADAL" clId="{363DE228-8D93-47E2-A1D5-6CB8C68569A9}" dt="2021-04-11T10:28:18.495" v="633" actId="478"/>
          <ac:picMkLst>
            <pc:docMk/>
            <pc:sldMk cId="3240557133" sldId="431"/>
            <ac:picMk id="3074" creationId="{34C63600-63F4-4247-8C21-941F3DD71546}"/>
          </ac:picMkLst>
        </pc:picChg>
      </pc:sldChg>
      <pc:sldChg chg="addSp">
        <pc:chgData name="Thomas Stensitzki" userId="75cafe6b-2f2a-469b-85c4-eec3b9c972ba" providerId="ADAL" clId="{363DE228-8D93-47E2-A1D5-6CB8C68569A9}" dt="2021-04-11T10:51:45.946" v="1109"/>
        <pc:sldMkLst>
          <pc:docMk/>
          <pc:sldMk cId="3409143287" sldId="431"/>
        </pc:sldMkLst>
        <pc:picChg chg="add">
          <ac:chgData name="Thomas Stensitzki" userId="75cafe6b-2f2a-469b-85c4-eec3b9c972ba" providerId="ADAL" clId="{363DE228-8D93-47E2-A1D5-6CB8C68569A9}" dt="2021-04-11T10:51:45.946" v="1109"/>
          <ac:picMkLst>
            <pc:docMk/>
            <pc:sldMk cId="3409143287" sldId="431"/>
            <ac:picMk id="5122" creationId="{82A7607B-48A8-4617-A3AC-D6ECE7081D09}"/>
          </ac:picMkLst>
        </pc:picChg>
      </pc:sldChg>
      <pc:sldChg chg="addSp">
        <pc:chgData name="Thomas Stensitzki" userId="75cafe6b-2f2a-469b-85c4-eec3b9c972ba" providerId="ADAL" clId="{363DE228-8D93-47E2-A1D5-6CB8C68569A9}" dt="2021-04-11T12:39:11.246" v="2485"/>
        <pc:sldMkLst>
          <pc:docMk/>
          <pc:sldMk cId="3392416001" sldId="432"/>
        </pc:sldMkLst>
        <pc:picChg chg="add">
          <ac:chgData name="Thomas Stensitzki" userId="75cafe6b-2f2a-469b-85c4-eec3b9c972ba" providerId="ADAL" clId="{363DE228-8D93-47E2-A1D5-6CB8C68569A9}" dt="2021-04-11T12:39:11.246" v="2485"/>
          <ac:picMkLst>
            <pc:docMk/>
            <pc:sldMk cId="3392416001" sldId="432"/>
            <ac:picMk id="26626" creationId="{3663870A-A009-4064-85E8-BB1974DE3D4A}"/>
          </ac:picMkLst>
        </pc:picChg>
      </pc:sldChg>
      <pc:sldChg chg="addSp delSp modSp add del mod modNotesTx">
        <pc:chgData name="Thomas Stensitzki" userId="75cafe6b-2f2a-469b-85c4-eec3b9c972ba" providerId="ADAL" clId="{363DE228-8D93-47E2-A1D5-6CB8C68569A9}" dt="2021-04-13T16:14:23.877" v="3715" actId="1440"/>
        <pc:sldMkLst>
          <pc:docMk/>
          <pc:sldMk cId="3748413395" sldId="432"/>
        </pc:sldMkLst>
        <pc:spChg chg="mod">
          <ac:chgData name="Thomas Stensitzki" userId="75cafe6b-2f2a-469b-85c4-eec3b9c972ba" providerId="ADAL" clId="{363DE228-8D93-47E2-A1D5-6CB8C68569A9}" dt="2021-04-13T16:10:05.745" v="3472" actId="20577"/>
          <ac:spMkLst>
            <pc:docMk/>
            <pc:sldMk cId="3748413395" sldId="432"/>
            <ac:spMk id="2" creationId="{11E5EEC8-6493-4BA0-8811-4A3F48FE62AF}"/>
          </ac:spMkLst>
        </pc:spChg>
        <pc:spChg chg="add del">
          <ac:chgData name="Thomas Stensitzki" userId="75cafe6b-2f2a-469b-85c4-eec3b9c972ba" providerId="ADAL" clId="{363DE228-8D93-47E2-A1D5-6CB8C68569A9}" dt="2021-04-11T12:39:28.733" v="2490" actId="22"/>
          <ac:spMkLst>
            <pc:docMk/>
            <pc:sldMk cId="3748413395" sldId="432"/>
            <ac:spMk id="5" creationId="{A2968577-50C0-484C-8753-D556C4E05ECD}"/>
          </ac:spMkLst>
        </pc:spChg>
        <pc:picChg chg="mod">
          <ac:chgData name="Thomas Stensitzki" userId="75cafe6b-2f2a-469b-85c4-eec3b9c972ba" providerId="ADAL" clId="{363DE228-8D93-47E2-A1D5-6CB8C68569A9}" dt="2021-04-13T16:14:23.877" v="3715" actId="1440"/>
          <ac:picMkLst>
            <pc:docMk/>
            <pc:sldMk cId="3748413395" sldId="432"/>
            <ac:picMk id="26626" creationId="{3663870A-A009-4064-85E8-BB1974DE3D4A}"/>
          </ac:picMkLst>
        </pc:picChg>
      </pc:sldChg>
      <pc:sldChg chg="addSp modSp add del mod">
        <pc:chgData name="Thomas Stensitzki" userId="75cafe6b-2f2a-469b-85c4-eec3b9c972ba" providerId="ADAL" clId="{363DE228-8D93-47E2-A1D5-6CB8C68569A9}" dt="2021-04-13T16:24:25.524" v="3812" actId="1076"/>
        <pc:sldMkLst>
          <pc:docMk/>
          <pc:sldMk cId="2909965873" sldId="433"/>
        </pc:sldMkLst>
        <pc:spChg chg="mod">
          <ac:chgData name="Thomas Stensitzki" userId="75cafe6b-2f2a-469b-85c4-eec3b9c972ba" providerId="ADAL" clId="{363DE228-8D93-47E2-A1D5-6CB8C68569A9}" dt="2021-04-11T10:54:53.640" v="1145" actId="20577"/>
          <ac:spMkLst>
            <pc:docMk/>
            <pc:sldMk cId="2909965873" sldId="433"/>
            <ac:spMk id="2" creationId="{50183ADD-E6D0-4570-B5FB-F95BA9130DEC}"/>
          </ac:spMkLst>
        </pc:spChg>
        <pc:spChg chg="add mod">
          <ac:chgData name="Thomas Stensitzki" userId="75cafe6b-2f2a-469b-85c4-eec3b9c972ba" providerId="ADAL" clId="{363DE228-8D93-47E2-A1D5-6CB8C68569A9}" dt="2021-04-13T16:24:25.524" v="3812" actId="1076"/>
          <ac:spMkLst>
            <pc:docMk/>
            <pc:sldMk cId="2909965873" sldId="433"/>
            <ac:spMk id="3" creationId="{AD078534-9302-46DB-A5FB-C9704F4A8A12}"/>
          </ac:spMkLst>
        </pc:spChg>
        <pc:picChg chg="add mod">
          <ac:chgData name="Thomas Stensitzki" userId="75cafe6b-2f2a-469b-85c4-eec3b9c972ba" providerId="ADAL" clId="{363DE228-8D93-47E2-A1D5-6CB8C68569A9}" dt="2021-04-13T16:20:44.610" v="3805" actId="1076"/>
          <ac:picMkLst>
            <pc:docMk/>
            <pc:sldMk cId="2909965873" sldId="433"/>
            <ac:picMk id="4" creationId="{750D8E2A-B2B9-4C20-BCD6-22AA82D82ABF}"/>
          </ac:picMkLst>
        </pc:picChg>
        <pc:picChg chg="mod">
          <ac:chgData name="Thomas Stensitzki" userId="75cafe6b-2f2a-469b-85c4-eec3b9c972ba" providerId="ADAL" clId="{363DE228-8D93-47E2-A1D5-6CB8C68569A9}" dt="2021-04-13T16:20:46.926" v="3806" actId="1076"/>
          <ac:picMkLst>
            <pc:docMk/>
            <pc:sldMk cId="2909965873" sldId="433"/>
            <ac:picMk id="8194" creationId="{7555D992-F803-412F-81A8-785927F5F17C}"/>
          </ac:picMkLst>
        </pc:picChg>
      </pc:sldChg>
      <pc:sldChg chg="addSp">
        <pc:chgData name="Thomas Stensitzki" userId="75cafe6b-2f2a-469b-85c4-eec3b9c972ba" providerId="ADAL" clId="{363DE228-8D93-47E2-A1D5-6CB8C68569A9}" dt="2021-04-11T10:54:59.110" v="1146"/>
        <pc:sldMkLst>
          <pc:docMk/>
          <pc:sldMk cId="4177504589" sldId="433"/>
        </pc:sldMkLst>
        <pc:picChg chg="add">
          <ac:chgData name="Thomas Stensitzki" userId="75cafe6b-2f2a-469b-85c4-eec3b9c972ba" providerId="ADAL" clId="{363DE228-8D93-47E2-A1D5-6CB8C68569A9}" dt="2021-04-11T10:54:59.110" v="1146"/>
          <ac:picMkLst>
            <pc:docMk/>
            <pc:sldMk cId="4177504589" sldId="433"/>
            <ac:picMk id="8194" creationId="{7555D992-F803-412F-81A8-785927F5F17C}"/>
          </ac:picMkLst>
        </pc:picChg>
      </pc:sldChg>
      <pc:sldChg chg="delSp modSp add del">
        <pc:chgData name="Thomas Stensitzki" userId="75cafe6b-2f2a-469b-85c4-eec3b9c972ba" providerId="ADAL" clId="{363DE228-8D93-47E2-A1D5-6CB8C68569A9}" dt="2021-04-11T10:53:01.072" v="1126" actId="1440"/>
        <pc:sldMkLst>
          <pc:docMk/>
          <pc:sldMk cId="2687296234" sldId="434"/>
        </pc:sldMkLst>
        <pc:picChg chg="del">
          <ac:chgData name="Thomas Stensitzki" userId="75cafe6b-2f2a-469b-85c4-eec3b9c972ba" providerId="ADAL" clId="{363DE228-8D93-47E2-A1D5-6CB8C68569A9}" dt="2021-04-11T10:52:09.510" v="1114" actId="478"/>
          <ac:picMkLst>
            <pc:docMk/>
            <pc:sldMk cId="2687296234" sldId="434"/>
            <ac:picMk id="5122" creationId="{82A7607B-48A8-4617-A3AC-D6ECE7081D09}"/>
          </ac:picMkLst>
        </pc:picChg>
        <pc:picChg chg="mod">
          <ac:chgData name="Thomas Stensitzki" userId="75cafe6b-2f2a-469b-85c4-eec3b9c972ba" providerId="ADAL" clId="{363DE228-8D93-47E2-A1D5-6CB8C68569A9}" dt="2021-04-11T10:53:01.072" v="1126" actId="1440"/>
          <ac:picMkLst>
            <pc:docMk/>
            <pc:sldMk cId="2687296234" sldId="434"/>
            <ac:picMk id="6146" creationId="{92D81F6E-E9E8-423F-B476-C9A7B153E4F5}"/>
          </ac:picMkLst>
        </pc:picChg>
        <pc:picChg chg="mod">
          <ac:chgData name="Thomas Stensitzki" userId="75cafe6b-2f2a-469b-85c4-eec3b9c972ba" providerId="ADAL" clId="{363DE228-8D93-47E2-A1D5-6CB8C68569A9}" dt="2021-04-11T10:52:59.108" v="1125" actId="1440"/>
          <ac:picMkLst>
            <pc:docMk/>
            <pc:sldMk cId="2687296234" sldId="434"/>
            <ac:picMk id="7170" creationId="{13327137-1C18-483A-89C4-A6B02C1839BA}"/>
          </ac:picMkLst>
        </pc:picChg>
      </pc:sldChg>
      <pc:sldChg chg="addSp">
        <pc:chgData name="Thomas Stensitzki" userId="75cafe6b-2f2a-469b-85c4-eec3b9c972ba" providerId="ADAL" clId="{363DE228-8D93-47E2-A1D5-6CB8C68569A9}" dt="2021-04-11T10:52:13.159" v="1115"/>
        <pc:sldMkLst>
          <pc:docMk/>
          <pc:sldMk cId="2895350850" sldId="434"/>
        </pc:sldMkLst>
        <pc:picChg chg="add">
          <ac:chgData name="Thomas Stensitzki" userId="75cafe6b-2f2a-469b-85c4-eec3b9c972ba" providerId="ADAL" clId="{363DE228-8D93-47E2-A1D5-6CB8C68569A9}" dt="2021-04-11T10:52:13.159" v="1115"/>
          <ac:picMkLst>
            <pc:docMk/>
            <pc:sldMk cId="2895350850" sldId="434"/>
            <ac:picMk id="6146" creationId="{92D81F6E-E9E8-423F-B476-C9A7B153E4F5}"/>
          </ac:picMkLst>
        </pc:picChg>
      </pc:sldChg>
      <pc:sldChg chg="addSp">
        <pc:chgData name="Thomas Stensitzki" userId="75cafe6b-2f2a-469b-85c4-eec3b9c972ba" providerId="ADAL" clId="{363DE228-8D93-47E2-A1D5-6CB8C68569A9}" dt="2021-04-11T10:52:27" v="1119"/>
        <pc:sldMkLst>
          <pc:docMk/>
          <pc:sldMk cId="3634695529" sldId="434"/>
        </pc:sldMkLst>
        <pc:picChg chg="add">
          <ac:chgData name="Thomas Stensitzki" userId="75cafe6b-2f2a-469b-85c4-eec3b9c972ba" providerId="ADAL" clId="{363DE228-8D93-47E2-A1D5-6CB8C68569A9}" dt="2021-04-11T10:52:27" v="1119"/>
          <ac:picMkLst>
            <pc:docMk/>
            <pc:sldMk cId="3634695529" sldId="434"/>
            <ac:picMk id="7170" creationId="{13327137-1C18-483A-89C4-A6B02C1839BA}"/>
          </ac:picMkLst>
        </pc:picChg>
      </pc:sldChg>
      <pc:sldChg chg="addSp">
        <pc:chgData name="Thomas Stensitzki" userId="75cafe6b-2f2a-469b-85c4-eec3b9c972ba" providerId="ADAL" clId="{363DE228-8D93-47E2-A1D5-6CB8C68569A9}" dt="2021-04-11T11:04:49.791" v="1326"/>
        <pc:sldMkLst>
          <pc:docMk/>
          <pc:sldMk cId="887293857" sldId="435"/>
        </pc:sldMkLst>
        <pc:picChg chg="add">
          <ac:chgData name="Thomas Stensitzki" userId="75cafe6b-2f2a-469b-85c4-eec3b9c972ba" providerId="ADAL" clId="{363DE228-8D93-47E2-A1D5-6CB8C68569A9}" dt="2021-04-11T11:04:49.791" v="1326"/>
          <ac:picMkLst>
            <pc:docMk/>
            <pc:sldMk cId="887293857" sldId="435"/>
            <ac:picMk id="9218" creationId="{D3A02A13-26FD-41D8-B700-08CA3E901D2E}"/>
          </ac:picMkLst>
        </pc:picChg>
      </pc:sldChg>
      <pc:sldChg chg="modSp add del mod">
        <pc:chgData name="Thomas Stensitzki" userId="75cafe6b-2f2a-469b-85c4-eec3b9c972ba" providerId="ADAL" clId="{363DE228-8D93-47E2-A1D5-6CB8C68569A9}" dt="2021-04-11T11:05:09.825" v="1329" actId="1440"/>
        <pc:sldMkLst>
          <pc:docMk/>
          <pc:sldMk cId="3916441034" sldId="435"/>
        </pc:sldMkLst>
        <pc:spChg chg="mod">
          <ac:chgData name="Thomas Stensitzki" userId="75cafe6b-2f2a-469b-85c4-eec3b9c972ba" providerId="ADAL" clId="{363DE228-8D93-47E2-A1D5-6CB8C68569A9}" dt="2021-04-11T11:04:45.627" v="1325"/>
          <ac:spMkLst>
            <pc:docMk/>
            <pc:sldMk cId="3916441034" sldId="435"/>
            <ac:spMk id="2" creationId="{50183ADD-E6D0-4570-B5FB-F95BA9130DEC}"/>
          </ac:spMkLst>
        </pc:spChg>
        <pc:picChg chg="mod">
          <ac:chgData name="Thomas Stensitzki" userId="75cafe6b-2f2a-469b-85c4-eec3b9c972ba" providerId="ADAL" clId="{363DE228-8D93-47E2-A1D5-6CB8C68569A9}" dt="2021-04-11T11:05:09.825" v="1329" actId="1440"/>
          <ac:picMkLst>
            <pc:docMk/>
            <pc:sldMk cId="3916441034" sldId="435"/>
            <ac:picMk id="9218" creationId="{D3A02A13-26FD-41D8-B700-08CA3E901D2E}"/>
          </ac:picMkLst>
        </pc:picChg>
      </pc:sldChg>
      <pc:sldChg chg="modSp add del mod modNotesTx">
        <pc:chgData name="Thomas Stensitzki" userId="75cafe6b-2f2a-469b-85c4-eec3b9c972ba" providerId="ADAL" clId="{363DE228-8D93-47E2-A1D5-6CB8C68569A9}" dt="2021-04-11T10:59:00.719" v="1242" actId="47"/>
        <pc:sldMkLst>
          <pc:docMk/>
          <pc:sldMk cId="2634348727" sldId="436"/>
        </pc:sldMkLst>
        <pc:spChg chg="mod">
          <ac:chgData name="Thomas Stensitzki" userId="75cafe6b-2f2a-469b-85c4-eec3b9c972ba" providerId="ADAL" clId="{363DE228-8D93-47E2-A1D5-6CB8C68569A9}" dt="2021-04-11T10:57:37.157" v="1204" actId="14100"/>
          <ac:spMkLst>
            <pc:docMk/>
            <pc:sldMk cId="2634348727" sldId="436"/>
            <ac:spMk id="2" creationId="{909DC09D-B9A6-4493-9A72-1CA7ECB1F5CA}"/>
          </ac:spMkLst>
        </pc:spChg>
        <pc:spChg chg="mod">
          <ac:chgData name="Thomas Stensitzki" userId="75cafe6b-2f2a-469b-85c4-eec3b9c972ba" providerId="ADAL" clId="{363DE228-8D93-47E2-A1D5-6CB8C68569A9}" dt="2021-04-11T10:58:42.621" v="1241" actId="108"/>
          <ac:spMkLst>
            <pc:docMk/>
            <pc:sldMk cId="2634348727" sldId="436"/>
            <ac:spMk id="5" creationId="{C24DACB5-1BEC-4C86-9652-BAFD8DE56FEF}"/>
          </ac:spMkLst>
        </pc:spChg>
      </pc:sldChg>
      <pc:sldChg chg="modSp add del mod">
        <pc:chgData name="Thomas Stensitzki" userId="75cafe6b-2f2a-469b-85c4-eec3b9c972ba" providerId="ADAL" clId="{363DE228-8D93-47E2-A1D5-6CB8C68569A9}" dt="2021-04-11T12:44:24.984" v="2516" actId="1076"/>
        <pc:sldMkLst>
          <pc:docMk/>
          <pc:sldMk cId="2665106704" sldId="437"/>
        </pc:sldMkLst>
        <pc:spChg chg="mod">
          <ac:chgData name="Thomas Stensitzki" userId="75cafe6b-2f2a-469b-85c4-eec3b9c972ba" providerId="ADAL" clId="{363DE228-8D93-47E2-A1D5-6CB8C68569A9}" dt="2021-04-11T12:44:17.106" v="2513"/>
          <ac:spMkLst>
            <pc:docMk/>
            <pc:sldMk cId="2665106704" sldId="437"/>
            <ac:spMk id="2" creationId="{11E5EEC8-6493-4BA0-8811-4A3F48FE62AF}"/>
          </ac:spMkLst>
        </pc:spChg>
        <pc:picChg chg="mod">
          <ac:chgData name="Thomas Stensitzki" userId="75cafe6b-2f2a-469b-85c4-eec3b9c972ba" providerId="ADAL" clId="{363DE228-8D93-47E2-A1D5-6CB8C68569A9}" dt="2021-04-11T12:44:24.984" v="2516" actId="1076"/>
          <ac:picMkLst>
            <pc:docMk/>
            <pc:sldMk cId="2665106704" sldId="437"/>
            <ac:picMk id="27650" creationId="{FD39F129-7796-4810-9C7D-E4C220E4CF67}"/>
          </ac:picMkLst>
        </pc:picChg>
      </pc:sldChg>
      <pc:sldChg chg="addSp">
        <pc:chgData name="Thomas Stensitzki" userId="75cafe6b-2f2a-469b-85c4-eec3b9c972ba" providerId="ADAL" clId="{363DE228-8D93-47E2-A1D5-6CB8C68569A9}" dt="2021-04-11T12:44:22.143" v="2514"/>
        <pc:sldMkLst>
          <pc:docMk/>
          <pc:sldMk cId="4058580615" sldId="437"/>
        </pc:sldMkLst>
        <pc:picChg chg="add">
          <ac:chgData name="Thomas Stensitzki" userId="75cafe6b-2f2a-469b-85c4-eec3b9c972ba" providerId="ADAL" clId="{363DE228-8D93-47E2-A1D5-6CB8C68569A9}" dt="2021-04-11T12:44:22.143" v="2514"/>
          <ac:picMkLst>
            <pc:docMk/>
            <pc:sldMk cId="4058580615" sldId="437"/>
            <ac:picMk id="27650" creationId="{FD39F129-7796-4810-9C7D-E4C220E4CF67}"/>
          </ac:picMkLst>
        </pc:picChg>
      </pc:sldChg>
      <pc:sldChg chg="modSp add mod ord modNotesTx">
        <pc:chgData name="Thomas Stensitzki" userId="75cafe6b-2f2a-469b-85c4-eec3b9c972ba" providerId="ADAL" clId="{363DE228-8D93-47E2-A1D5-6CB8C68569A9}" dt="2021-04-13T16:04:47.051" v="3178" actId="20577"/>
        <pc:sldMkLst>
          <pc:docMk/>
          <pc:sldMk cId="1968010775" sldId="438"/>
        </pc:sldMkLst>
        <pc:spChg chg="mod">
          <ac:chgData name="Thomas Stensitzki" userId="75cafe6b-2f2a-469b-85c4-eec3b9c972ba" providerId="ADAL" clId="{363DE228-8D93-47E2-A1D5-6CB8C68569A9}" dt="2021-04-13T16:04:47.051" v="3178" actId="20577"/>
          <ac:spMkLst>
            <pc:docMk/>
            <pc:sldMk cId="1968010775" sldId="438"/>
            <ac:spMk id="5" creationId="{C24DACB5-1BEC-4C86-9652-BAFD8DE56FEF}"/>
          </ac:spMkLst>
        </pc:spChg>
      </pc:sldChg>
      <pc:sldChg chg="modSp add mod ord modNotesTx">
        <pc:chgData name="Thomas Stensitzki" userId="75cafe6b-2f2a-469b-85c4-eec3b9c972ba" providerId="ADAL" clId="{363DE228-8D93-47E2-A1D5-6CB8C68569A9}" dt="2021-04-13T16:13:41.313" v="3660" actId="6549"/>
        <pc:sldMkLst>
          <pc:docMk/>
          <pc:sldMk cId="2987264023" sldId="439"/>
        </pc:sldMkLst>
        <pc:spChg chg="mod">
          <ac:chgData name="Thomas Stensitzki" userId="75cafe6b-2f2a-469b-85c4-eec3b9c972ba" providerId="ADAL" clId="{363DE228-8D93-47E2-A1D5-6CB8C68569A9}" dt="2021-04-13T16:12:56.672" v="3595" actId="14100"/>
          <ac:spMkLst>
            <pc:docMk/>
            <pc:sldMk cId="2987264023" sldId="439"/>
            <ac:spMk id="2" creationId="{909DC09D-B9A6-4493-9A72-1CA7ECB1F5CA}"/>
          </ac:spMkLst>
        </pc:spChg>
        <pc:spChg chg="mod">
          <ac:chgData name="Thomas Stensitzki" userId="75cafe6b-2f2a-469b-85c4-eec3b9c972ba" providerId="ADAL" clId="{363DE228-8D93-47E2-A1D5-6CB8C68569A9}" dt="2021-04-13T16:08:44.443" v="3468" actId="20577"/>
          <ac:spMkLst>
            <pc:docMk/>
            <pc:sldMk cId="2987264023" sldId="439"/>
            <ac:spMk id="5" creationId="{C24DACB5-1BEC-4C86-9652-BAFD8DE56FEF}"/>
          </ac:spMkLst>
        </pc:spChg>
      </pc:sldChg>
      <pc:sldChg chg="addSp delSp modSp add del mod modNotesTx">
        <pc:chgData name="Thomas Stensitzki" userId="75cafe6b-2f2a-469b-85c4-eec3b9c972ba" providerId="ADAL" clId="{363DE228-8D93-47E2-A1D5-6CB8C68569A9}" dt="2021-04-11T12:37:45.059" v="2458" actId="1440"/>
        <pc:sldMkLst>
          <pc:docMk/>
          <pc:sldMk cId="1174508103" sldId="440"/>
        </pc:sldMkLst>
        <pc:spChg chg="mod">
          <ac:chgData name="Thomas Stensitzki" userId="75cafe6b-2f2a-469b-85c4-eec3b9c972ba" providerId="ADAL" clId="{363DE228-8D93-47E2-A1D5-6CB8C68569A9}" dt="2021-04-11T11:07:20.765" v="1344"/>
          <ac:spMkLst>
            <pc:docMk/>
            <pc:sldMk cId="1174508103" sldId="440"/>
            <ac:spMk id="2" creationId="{50183ADD-E6D0-4570-B5FB-F95BA9130DEC}"/>
          </ac:spMkLst>
        </pc:spChg>
        <pc:spChg chg="add del">
          <ac:chgData name="Thomas Stensitzki" userId="75cafe6b-2f2a-469b-85c4-eec3b9c972ba" providerId="ADAL" clId="{363DE228-8D93-47E2-A1D5-6CB8C68569A9}" dt="2021-04-11T11:08:34.453" v="1354" actId="478"/>
          <ac:spMkLst>
            <pc:docMk/>
            <pc:sldMk cId="1174508103" sldId="440"/>
            <ac:spMk id="5" creationId="{5C1E7465-D3BE-4DAF-94E7-7205D4418D86}"/>
          </ac:spMkLst>
        </pc:spChg>
        <pc:picChg chg="mod">
          <ac:chgData name="Thomas Stensitzki" userId="75cafe6b-2f2a-469b-85c4-eec3b9c972ba" providerId="ADAL" clId="{363DE228-8D93-47E2-A1D5-6CB8C68569A9}" dt="2021-04-11T12:37:45.059" v="2458" actId="1440"/>
          <ac:picMkLst>
            <pc:docMk/>
            <pc:sldMk cId="1174508103" sldId="440"/>
            <ac:picMk id="10242" creationId="{0282E682-DF59-4945-9355-C607E45806E4}"/>
          </ac:picMkLst>
        </pc:picChg>
      </pc:sldChg>
      <pc:sldChg chg="addSp">
        <pc:chgData name="Thomas Stensitzki" userId="75cafe6b-2f2a-469b-85c4-eec3b9c972ba" providerId="ADAL" clId="{363DE228-8D93-47E2-A1D5-6CB8C68569A9}" dt="2021-04-11T11:07:47.962" v="1345"/>
        <pc:sldMkLst>
          <pc:docMk/>
          <pc:sldMk cId="2499793211" sldId="440"/>
        </pc:sldMkLst>
        <pc:picChg chg="add">
          <ac:chgData name="Thomas Stensitzki" userId="75cafe6b-2f2a-469b-85c4-eec3b9c972ba" providerId="ADAL" clId="{363DE228-8D93-47E2-A1D5-6CB8C68569A9}" dt="2021-04-11T11:07:47.962" v="1345"/>
          <ac:picMkLst>
            <pc:docMk/>
            <pc:sldMk cId="2499793211" sldId="440"/>
            <ac:picMk id="10242" creationId="{0282E682-DF59-4945-9355-C607E45806E4}"/>
          </ac:picMkLst>
        </pc:picChg>
      </pc:sldChg>
      <pc:sldChg chg="addSp">
        <pc:chgData name="Thomas Stensitzki" userId="75cafe6b-2f2a-469b-85c4-eec3b9c972ba" providerId="ADAL" clId="{363DE228-8D93-47E2-A1D5-6CB8C68569A9}" dt="2021-04-11T11:13:54.324" v="1471"/>
        <pc:sldMkLst>
          <pc:docMk/>
          <pc:sldMk cId="260459853" sldId="441"/>
        </pc:sldMkLst>
        <pc:picChg chg="add">
          <ac:chgData name="Thomas Stensitzki" userId="75cafe6b-2f2a-469b-85c4-eec3b9c972ba" providerId="ADAL" clId="{363DE228-8D93-47E2-A1D5-6CB8C68569A9}" dt="2021-04-11T11:13:54.324" v="1471"/>
          <ac:picMkLst>
            <pc:docMk/>
            <pc:sldMk cId="260459853" sldId="441"/>
            <ac:picMk id="13314" creationId="{84B9686C-48C0-45C9-AD07-90660856CC97}"/>
          </ac:picMkLst>
        </pc:picChg>
      </pc:sldChg>
      <pc:sldChg chg="addSp modSp add del mod">
        <pc:chgData name="Thomas Stensitzki" userId="75cafe6b-2f2a-469b-85c4-eec3b9c972ba" providerId="ADAL" clId="{363DE228-8D93-47E2-A1D5-6CB8C68569A9}" dt="2021-04-13T16:27:37.624" v="3871" actId="14100"/>
        <pc:sldMkLst>
          <pc:docMk/>
          <pc:sldMk cId="1134792597" sldId="441"/>
        </pc:sldMkLst>
        <pc:spChg chg="mod">
          <ac:chgData name="Thomas Stensitzki" userId="75cafe6b-2f2a-469b-85c4-eec3b9c972ba" providerId="ADAL" clId="{363DE228-8D93-47E2-A1D5-6CB8C68569A9}" dt="2021-04-11T11:13:50.672" v="1470"/>
          <ac:spMkLst>
            <pc:docMk/>
            <pc:sldMk cId="1134792597" sldId="441"/>
            <ac:spMk id="2" creationId="{50183ADD-E6D0-4570-B5FB-F95BA9130DEC}"/>
          </ac:spMkLst>
        </pc:spChg>
        <pc:spChg chg="add mod">
          <ac:chgData name="Thomas Stensitzki" userId="75cafe6b-2f2a-469b-85c4-eec3b9c972ba" providerId="ADAL" clId="{363DE228-8D93-47E2-A1D5-6CB8C68569A9}" dt="2021-04-13T16:27:37.624" v="3871" actId="14100"/>
          <ac:spMkLst>
            <pc:docMk/>
            <pc:sldMk cId="1134792597" sldId="441"/>
            <ac:spMk id="3" creationId="{C5673F5D-A124-49F9-A94A-8B2D2411BE61}"/>
          </ac:spMkLst>
        </pc:spChg>
        <pc:picChg chg="mod">
          <ac:chgData name="Thomas Stensitzki" userId="75cafe6b-2f2a-469b-85c4-eec3b9c972ba" providerId="ADAL" clId="{363DE228-8D93-47E2-A1D5-6CB8C68569A9}" dt="2021-04-13T16:26:40.571" v="3865" actId="1036"/>
          <ac:picMkLst>
            <pc:docMk/>
            <pc:sldMk cId="1134792597" sldId="441"/>
            <ac:picMk id="13314" creationId="{84B9686C-48C0-45C9-AD07-90660856CC97}"/>
          </ac:picMkLst>
        </pc:picChg>
      </pc:sldChg>
      <pc:sldChg chg="addSp">
        <pc:chgData name="Thomas Stensitzki" userId="75cafe6b-2f2a-469b-85c4-eec3b9c972ba" providerId="ADAL" clId="{363DE228-8D93-47E2-A1D5-6CB8C68569A9}" dt="2021-04-11T11:08:38.735" v="1356"/>
        <pc:sldMkLst>
          <pc:docMk/>
          <pc:sldMk cId="429761498" sldId="442"/>
        </pc:sldMkLst>
        <pc:picChg chg="add">
          <ac:chgData name="Thomas Stensitzki" userId="75cafe6b-2f2a-469b-85c4-eec3b9c972ba" providerId="ADAL" clId="{363DE228-8D93-47E2-A1D5-6CB8C68569A9}" dt="2021-04-11T11:08:38.735" v="1356"/>
          <ac:picMkLst>
            <pc:docMk/>
            <pc:sldMk cId="429761498" sldId="442"/>
            <ac:picMk id="11266" creationId="{960DDDFF-56CC-481E-9B48-90E1A58D7A39}"/>
          </ac:picMkLst>
        </pc:picChg>
      </pc:sldChg>
      <pc:sldChg chg="addSp">
        <pc:chgData name="Thomas Stensitzki" userId="75cafe6b-2f2a-469b-85c4-eec3b9c972ba" providerId="ADAL" clId="{363DE228-8D93-47E2-A1D5-6CB8C68569A9}" dt="2021-04-11T11:09:45.179" v="1361"/>
        <pc:sldMkLst>
          <pc:docMk/>
          <pc:sldMk cId="1411663160" sldId="442"/>
        </pc:sldMkLst>
        <pc:picChg chg="add">
          <ac:chgData name="Thomas Stensitzki" userId="75cafe6b-2f2a-469b-85c4-eec3b9c972ba" providerId="ADAL" clId="{363DE228-8D93-47E2-A1D5-6CB8C68569A9}" dt="2021-04-11T11:09:45.179" v="1361"/>
          <ac:picMkLst>
            <pc:docMk/>
            <pc:sldMk cId="1411663160" sldId="442"/>
            <ac:picMk id="12290" creationId="{01009F62-B242-48CC-8117-02C2E562F017}"/>
          </ac:picMkLst>
        </pc:picChg>
      </pc:sldChg>
      <pc:sldChg chg="delSp modSp add del mod">
        <pc:chgData name="Thomas Stensitzki" userId="75cafe6b-2f2a-469b-85c4-eec3b9c972ba" providerId="ADAL" clId="{363DE228-8D93-47E2-A1D5-6CB8C68569A9}" dt="2021-04-13T16:26:31.793" v="3849" actId="1035"/>
        <pc:sldMkLst>
          <pc:docMk/>
          <pc:sldMk cId="3082151148" sldId="442"/>
        </pc:sldMkLst>
        <pc:spChg chg="del">
          <ac:chgData name="Thomas Stensitzki" userId="75cafe6b-2f2a-469b-85c4-eec3b9c972ba" providerId="ADAL" clId="{363DE228-8D93-47E2-A1D5-6CB8C68569A9}" dt="2021-04-11T11:08:37.412" v="1355" actId="478"/>
          <ac:spMkLst>
            <pc:docMk/>
            <pc:sldMk cId="3082151148" sldId="442"/>
            <ac:spMk id="5" creationId="{5C1E7465-D3BE-4DAF-94E7-7205D4418D86}"/>
          </ac:spMkLst>
        </pc:spChg>
        <pc:picChg chg="del">
          <ac:chgData name="Thomas Stensitzki" userId="75cafe6b-2f2a-469b-85c4-eec3b9c972ba" providerId="ADAL" clId="{363DE228-8D93-47E2-A1D5-6CB8C68569A9}" dt="2021-04-11T11:08:25.034" v="1353" actId="478"/>
          <ac:picMkLst>
            <pc:docMk/>
            <pc:sldMk cId="3082151148" sldId="442"/>
            <ac:picMk id="10242" creationId="{0282E682-DF59-4945-9355-C607E45806E4}"/>
          </ac:picMkLst>
        </pc:picChg>
        <pc:picChg chg="mod">
          <ac:chgData name="Thomas Stensitzki" userId="75cafe6b-2f2a-469b-85c4-eec3b9c972ba" providerId="ADAL" clId="{363DE228-8D93-47E2-A1D5-6CB8C68569A9}" dt="2021-04-13T16:26:31.793" v="3849" actId="1035"/>
          <ac:picMkLst>
            <pc:docMk/>
            <pc:sldMk cId="3082151148" sldId="442"/>
            <ac:picMk id="11266" creationId="{960DDDFF-56CC-481E-9B48-90E1A58D7A39}"/>
          </ac:picMkLst>
        </pc:picChg>
        <pc:picChg chg="mod">
          <ac:chgData name="Thomas Stensitzki" userId="75cafe6b-2f2a-469b-85c4-eec3b9c972ba" providerId="ADAL" clId="{363DE228-8D93-47E2-A1D5-6CB8C68569A9}" dt="2021-04-13T16:26:27.473" v="3838" actId="1036"/>
          <ac:picMkLst>
            <pc:docMk/>
            <pc:sldMk cId="3082151148" sldId="442"/>
            <ac:picMk id="12290" creationId="{01009F62-B242-48CC-8117-02C2E562F017}"/>
          </ac:picMkLst>
        </pc:picChg>
      </pc:sldChg>
      <pc:sldChg chg="addSp modSp add del mod chgLayout">
        <pc:chgData name="Thomas Stensitzki" userId="75cafe6b-2f2a-469b-85c4-eec3b9c972ba" providerId="ADAL" clId="{363DE228-8D93-47E2-A1D5-6CB8C68569A9}" dt="2021-04-13T16:30:27.207" v="3874" actId="1076"/>
        <pc:sldMkLst>
          <pc:docMk/>
          <pc:sldMk cId="2894310663" sldId="443"/>
        </pc:sldMkLst>
        <pc:spChg chg="mod ord">
          <ac:chgData name="Thomas Stensitzki" userId="75cafe6b-2f2a-469b-85c4-eec3b9c972ba" providerId="ADAL" clId="{363DE228-8D93-47E2-A1D5-6CB8C68569A9}" dt="2021-04-11T12:16:22.638" v="1734" actId="700"/>
          <ac:spMkLst>
            <pc:docMk/>
            <pc:sldMk cId="2894310663" sldId="443"/>
            <ac:spMk id="2" creationId="{50183ADD-E6D0-4570-B5FB-F95BA9130DEC}"/>
          </ac:spMkLst>
        </pc:spChg>
        <pc:spChg chg="add mod ord">
          <ac:chgData name="Thomas Stensitzki" userId="75cafe6b-2f2a-469b-85c4-eec3b9c972ba" providerId="ADAL" clId="{363DE228-8D93-47E2-A1D5-6CB8C68569A9}" dt="2021-04-11T12:17:43.883" v="1766" actId="20577"/>
          <ac:spMkLst>
            <pc:docMk/>
            <pc:sldMk cId="2894310663" sldId="443"/>
            <ac:spMk id="3" creationId="{BA26520B-182E-4663-8494-7C118FD95DC0}"/>
          </ac:spMkLst>
        </pc:spChg>
        <pc:spChg chg="add mod">
          <ac:chgData name="Thomas Stensitzki" userId="75cafe6b-2f2a-469b-85c4-eec3b9c972ba" providerId="ADAL" clId="{363DE228-8D93-47E2-A1D5-6CB8C68569A9}" dt="2021-04-11T12:18:18.284" v="1772" actId="1076"/>
          <ac:spMkLst>
            <pc:docMk/>
            <pc:sldMk cId="2894310663" sldId="443"/>
            <ac:spMk id="6" creationId="{092F3A9E-3C85-42E7-AAE2-570492847E53}"/>
          </ac:spMkLst>
        </pc:spChg>
        <pc:picChg chg="mod">
          <ac:chgData name="Thomas Stensitzki" userId="75cafe6b-2f2a-469b-85c4-eec3b9c972ba" providerId="ADAL" clId="{363DE228-8D93-47E2-A1D5-6CB8C68569A9}" dt="2021-04-13T16:30:27.207" v="3874" actId="1076"/>
          <ac:picMkLst>
            <pc:docMk/>
            <pc:sldMk cId="2894310663" sldId="443"/>
            <ac:picMk id="14338" creationId="{C8543E28-7205-4AC6-A54D-0064BA5D8A10}"/>
          </ac:picMkLst>
        </pc:picChg>
      </pc:sldChg>
      <pc:sldChg chg="addSp">
        <pc:chgData name="Thomas Stensitzki" userId="75cafe6b-2f2a-469b-85c4-eec3b9c972ba" providerId="ADAL" clId="{363DE228-8D93-47E2-A1D5-6CB8C68569A9}" dt="2021-04-11T12:16:02.719" v="1730"/>
        <pc:sldMkLst>
          <pc:docMk/>
          <pc:sldMk cId="3726450046" sldId="443"/>
        </pc:sldMkLst>
        <pc:picChg chg="add">
          <ac:chgData name="Thomas Stensitzki" userId="75cafe6b-2f2a-469b-85c4-eec3b9c972ba" providerId="ADAL" clId="{363DE228-8D93-47E2-A1D5-6CB8C68569A9}" dt="2021-04-11T12:16:02.719" v="1730"/>
          <ac:picMkLst>
            <pc:docMk/>
            <pc:sldMk cId="3726450046" sldId="443"/>
            <ac:picMk id="14338" creationId="{C8543E28-7205-4AC6-A54D-0064BA5D8A10}"/>
          </ac:picMkLst>
        </pc:picChg>
      </pc:sldChg>
      <pc:sldChg chg="addSp delSp modSp add mod chgLayout">
        <pc:chgData name="Thomas Stensitzki" userId="75cafe6b-2f2a-469b-85c4-eec3b9c972ba" providerId="ADAL" clId="{363DE228-8D93-47E2-A1D5-6CB8C68569A9}" dt="2021-04-13T16:29:49.374" v="3873" actId="113"/>
        <pc:sldMkLst>
          <pc:docMk/>
          <pc:sldMk cId="625199879" sldId="444"/>
        </pc:sldMkLst>
        <pc:spChg chg="mod ord">
          <ac:chgData name="Thomas Stensitzki" userId="75cafe6b-2f2a-469b-85c4-eec3b9c972ba" providerId="ADAL" clId="{363DE228-8D93-47E2-A1D5-6CB8C68569A9}" dt="2021-04-11T11:14:42.862" v="1477" actId="700"/>
          <ac:spMkLst>
            <pc:docMk/>
            <pc:sldMk cId="625199879" sldId="444"/>
            <ac:spMk id="2" creationId="{50183ADD-E6D0-4570-B5FB-F95BA9130DEC}"/>
          </ac:spMkLst>
        </pc:spChg>
        <pc:spChg chg="add del mod ord">
          <ac:chgData name="Thomas Stensitzki" userId="75cafe6b-2f2a-469b-85c4-eec3b9c972ba" providerId="ADAL" clId="{363DE228-8D93-47E2-A1D5-6CB8C68569A9}" dt="2021-04-11T11:15:02.313" v="1478" actId="3680"/>
          <ac:spMkLst>
            <pc:docMk/>
            <pc:sldMk cId="625199879" sldId="444"/>
            <ac:spMk id="3" creationId="{78D8FCD1-D8DB-4D60-859C-7265AD172D70}"/>
          </ac:spMkLst>
        </pc:spChg>
        <pc:graphicFrameChg chg="add mod ord modGraphic">
          <ac:chgData name="Thomas Stensitzki" userId="75cafe6b-2f2a-469b-85c4-eec3b9c972ba" providerId="ADAL" clId="{363DE228-8D93-47E2-A1D5-6CB8C68569A9}" dt="2021-04-13T16:29:49.374" v="3873" actId="113"/>
          <ac:graphicFrameMkLst>
            <pc:docMk/>
            <pc:sldMk cId="625199879" sldId="444"/>
            <ac:graphicFrameMk id="4" creationId="{0F22A601-A9C9-4363-ABFD-8ED7802B0289}"/>
          </ac:graphicFrameMkLst>
        </pc:graphicFrameChg>
        <pc:picChg chg="del">
          <ac:chgData name="Thomas Stensitzki" userId="75cafe6b-2f2a-469b-85c4-eec3b9c972ba" providerId="ADAL" clId="{363DE228-8D93-47E2-A1D5-6CB8C68569A9}" dt="2021-04-11T11:14:38.490" v="1476" actId="478"/>
          <ac:picMkLst>
            <pc:docMk/>
            <pc:sldMk cId="625199879" sldId="444"/>
            <ac:picMk id="13314" creationId="{84B9686C-48C0-45C9-AD07-90660856CC97}"/>
          </ac:picMkLst>
        </pc:picChg>
      </pc:sldChg>
      <pc:sldChg chg="modSp add del mod">
        <pc:chgData name="Thomas Stensitzki" userId="75cafe6b-2f2a-469b-85c4-eec3b9c972ba" providerId="ADAL" clId="{363DE228-8D93-47E2-A1D5-6CB8C68569A9}" dt="2021-04-11T12:37:35.160" v="2453" actId="1440"/>
        <pc:sldMkLst>
          <pc:docMk/>
          <pc:sldMk cId="1296016441" sldId="445"/>
        </pc:sldMkLst>
        <pc:spChg chg="mod">
          <ac:chgData name="Thomas Stensitzki" userId="75cafe6b-2f2a-469b-85c4-eec3b9c972ba" providerId="ADAL" clId="{363DE228-8D93-47E2-A1D5-6CB8C68569A9}" dt="2021-04-11T12:19:09.631" v="1797"/>
          <ac:spMkLst>
            <pc:docMk/>
            <pc:sldMk cId="1296016441" sldId="445"/>
            <ac:spMk id="2" creationId="{50183ADD-E6D0-4570-B5FB-F95BA9130DEC}"/>
          </ac:spMkLst>
        </pc:spChg>
        <pc:picChg chg="mod">
          <ac:chgData name="Thomas Stensitzki" userId="75cafe6b-2f2a-469b-85c4-eec3b9c972ba" providerId="ADAL" clId="{363DE228-8D93-47E2-A1D5-6CB8C68569A9}" dt="2021-04-11T12:37:35.160" v="2453" actId="1440"/>
          <ac:picMkLst>
            <pc:docMk/>
            <pc:sldMk cId="1296016441" sldId="445"/>
            <ac:picMk id="15362" creationId="{45A7CBBE-01F4-4EDA-9C23-0C2D154F86BA}"/>
          </ac:picMkLst>
        </pc:picChg>
      </pc:sldChg>
      <pc:sldChg chg="addSp">
        <pc:chgData name="Thomas Stensitzki" userId="75cafe6b-2f2a-469b-85c4-eec3b9c972ba" providerId="ADAL" clId="{363DE228-8D93-47E2-A1D5-6CB8C68569A9}" dt="2021-04-11T12:19:16.182" v="1798"/>
        <pc:sldMkLst>
          <pc:docMk/>
          <pc:sldMk cId="1359793213" sldId="445"/>
        </pc:sldMkLst>
        <pc:picChg chg="add">
          <ac:chgData name="Thomas Stensitzki" userId="75cafe6b-2f2a-469b-85c4-eec3b9c972ba" providerId="ADAL" clId="{363DE228-8D93-47E2-A1D5-6CB8C68569A9}" dt="2021-04-11T12:19:16.182" v="1798"/>
          <ac:picMkLst>
            <pc:docMk/>
            <pc:sldMk cId="1359793213" sldId="445"/>
            <ac:picMk id="15362" creationId="{45A7CBBE-01F4-4EDA-9C23-0C2D154F86BA}"/>
          </ac:picMkLst>
        </pc:picChg>
      </pc:sldChg>
      <pc:sldChg chg="addSp">
        <pc:chgData name="Thomas Stensitzki" userId="75cafe6b-2f2a-469b-85c4-eec3b9c972ba" providerId="ADAL" clId="{363DE228-8D93-47E2-A1D5-6CB8C68569A9}" dt="2021-04-11T12:20:38.424" v="1824"/>
        <pc:sldMkLst>
          <pc:docMk/>
          <pc:sldMk cId="2314800460" sldId="446"/>
        </pc:sldMkLst>
        <pc:picChg chg="add">
          <ac:chgData name="Thomas Stensitzki" userId="75cafe6b-2f2a-469b-85c4-eec3b9c972ba" providerId="ADAL" clId="{363DE228-8D93-47E2-A1D5-6CB8C68569A9}" dt="2021-04-11T12:20:38.424" v="1824"/>
          <ac:picMkLst>
            <pc:docMk/>
            <pc:sldMk cId="2314800460" sldId="446"/>
            <ac:picMk id="16386" creationId="{73AAB821-D611-4DB7-B190-1DEFD0271BC9}"/>
          </ac:picMkLst>
        </pc:picChg>
      </pc:sldChg>
      <pc:sldChg chg="modSp add del mod">
        <pc:chgData name="Thomas Stensitzki" userId="75cafe6b-2f2a-469b-85c4-eec3b9c972ba" providerId="ADAL" clId="{363DE228-8D93-47E2-A1D5-6CB8C68569A9}" dt="2021-04-11T12:37:30.682" v="2452" actId="1440"/>
        <pc:sldMkLst>
          <pc:docMk/>
          <pc:sldMk cId="2712150207" sldId="446"/>
        </pc:sldMkLst>
        <pc:spChg chg="mod">
          <ac:chgData name="Thomas Stensitzki" userId="75cafe6b-2f2a-469b-85c4-eec3b9c972ba" providerId="ADAL" clId="{363DE228-8D93-47E2-A1D5-6CB8C68569A9}" dt="2021-04-11T12:20:32.521" v="1823"/>
          <ac:spMkLst>
            <pc:docMk/>
            <pc:sldMk cId="2712150207" sldId="446"/>
            <ac:spMk id="2" creationId="{50183ADD-E6D0-4570-B5FB-F95BA9130DEC}"/>
          </ac:spMkLst>
        </pc:spChg>
        <pc:picChg chg="mod">
          <ac:chgData name="Thomas Stensitzki" userId="75cafe6b-2f2a-469b-85c4-eec3b9c972ba" providerId="ADAL" clId="{363DE228-8D93-47E2-A1D5-6CB8C68569A9}" dt="2021-04-11T12:37:30.682" v="2452" actId="1440"/>
          <ac:picMkLst>
            <pc:docMk/>
            <pc:sldMk cId="2712150207" sldId="446"/>
            <ac:picMk id="16386" creationId="{73AAB821-D611-4DB7-B190-1DEFD0271BC9}"/>
          </ac:picMkLst>
        </pc:picChg>
      </pc:sldChg>
      <pc:sldChg chg="addSp modSp add del mod chgLayout">
        <pc:chgData name="Thomas Stensitzki" userId="75cafe6b-2f2a-469b-85c4-eec3b9c972ba" providerId="ADAL" clId="{363DE228-8D93-47E2-A1D5-6CB8C68569A9}" dt="2021-04-11T12:37:27.555" v="2451" actId="1440"/>
        <pc:sldMkLst>
          <pc:docMk/>
          <pc:sldMk cId="3622258366" sldId="447"/>
        </pc:sldMkLst>
        <pc:spChg chg="mod ord">
          <ac:chgData name="Thomas Stensitzki" userId="75cafe6b-2f2a-469b-85c4-eec3b9c972ba" providerId="ADAL" clId="{363DE228-8D93-47E2-A1D5-6CB8C68569A9}" dt="2021-04-11T12:24:01.159" v="1879" actId="700"/>
          <ac:spMkLst>
            <pc:docMk/>
            <pc:sldMk cId="3622258366" sldId="447"/>
            <ac:spMk id="2" creationId="{50183ADD-E6D0-4570-B5FB-F95BA9130DEC}"/>
          </ac:spMkLst>
        </pc:spChg>
        <pc:spChg chg="add mod ord">
          <ac:chgData name="Thomas Stensitzki" userId="75cafe6b-2f2a-469b-85c4-eec3b9c972ba" providerId="ADAL" clId="{363DE228-8D93-47E2-A1D5-6CB8C68569A9}" dt="2021-04-11T12:26:11.509" v="2070" actId="20577"/>
          <ac:spMkLst>
            <pc:docMk/>
            <pc:sldMk cId="3622258366" sldId="447"/>
            <ac:spMk id="3" creationId="{753A6C28-5235-4785-817A-3E51163696AE}"/>
          </ac:spMkLst>
        </pc:spChg>
        <pc:picChg chg="mod">
          <ac:chgData name="Thomas Stensitzki" userId="75cafe6b-2f2a-469b-85c4-eec3b9c972ba" providerId="ADAL" clId="{363DE228-8D93-47E2-A1D5-6CB8C68569A9}" dt="2021-04-11T12:37:27.555" v="2451" actId="1440"/>
          <ac:picMkLst>
            <pc:docMk/>
            <pc:sldMk cId="3622258366" sldId="447"/>
            <ac:picMk id="17410" creationId="{01F8CDA8-6946-4ACB-8DF9-C38B518CA35E}"/>
          </ac:picMkLst>
        </pc:picChg>
      </pc:sldChg>
      <pc:sldChg chg="addSp">
        <pc:chgData name="Thomas Stensitzki" userId="75cafe6b-2f2a-469b-85c4-eec3b9c972ba" providerId="ADAL" clId="{363DE228-8D93-47E2-A1D5-6CB8C68569A9}" dt="2021-04-11T12:23:52.069" v="1875"/>
        <pc:sldMkLst>
          <pc:docMk/>
          <pc:sldMk cId="3804870860" sldId="447"/>
        </pc:sldMkLst>
        <pc:picChg chg="add">
          <ac:chgData name="Thomas Stensitzki" userId="75cafe6b-2f2a-469b-85c4-eec3b9c972ba" providerId="ADAL" clId="{363DE228-8D93-47E2-A1D5-6CB8C68569A9}" dt="2021-04-11T12:23:52.069" v="1875"/>
          <ac:picMkLst>
            <pc:docMk/>
            <pc:sldMk cId="3804870860" sldId="447"/>
            <ac:picMk id="17410" creationId="{01F8CDA8-6946-4ACB-8DF9-C38B518CA35E}"/>
          </ac:picMkLst>
        </pc:picChg>
      </pc:sldChg>
      <pc:sldChg chg="modSp add mod ord modNotesTx">
        <pc:chgData name="Thomas Stensitzki" userId="75cafe6b-2f2a-469b-85c4-eec3b9c972ba" providerId="ADAL" clId="{363DE228-8D93-47E2-A1D5-6CB8C68569A9}" dt="2021-04-13T16:05:31.779" v="3208" actId="20577"/>
        <pc:sldMkLst>
          <pc:docMk/>
          <pc:sldMk cId="1736350639" sldId="448"/>
        </pc:sldMkLst>
        <pc:spChg chg="mod">
          <ac:chgData name="Thomas Stensitzki" userId="75cafe6b-2f2a-469b-85c4-eec3b9c972ba" providerId="ADAL" clId="{363DE228-8D93-47E2-A1D5-6CB8C68569A9}" dt="2021-04-13T16:05:31.779" v="3208" actId="20577"/>
          <ac:spMkLst>
            <pc:docMk/>
            <pc:sldMk cId="1736350639" sldId="448"/>
            <ac:spMk id="5" creationId="{C24DACB5-1BEC-4C86-9652-BAFD8DE56FEF}"/>
          </ac:spMkLst>
        </pc:spChg>
      </pc:sldChg>
      <pc:sldChg chg="addSp">
        <pc:chgData name="Thomas Stensitzki" userId="75cafe6b-2f2a-469b-85c4-eec3b9c972ba" providerId="ADAL" clId="{363DE228-8D93-47E2-A1D5-6CB8C68569A9}" dt="2021-04-11T12:27:26.506" v="2097"/>
        <pc:sldMkLst>
          <pc:docMk/>
          <pc:sldMk cId="732407738" sldId="449"/>
        </pc:sldMkLst>
        <pc:picChg chg="add">
          <ac:chgData name="Thomas Stensitzki" userId="75cafe6b-2f2a-469b-85c4-eec3b9c972ba" providerId="ADAL" clId="{363DE228-8D93-47E2-A1D5-6CB8C68569A9}" dt="2021-04-11T12:27:26.506" v="2097"/>
          <ac:picMkLst>
            <pc:docMk/>
            <pc:sldMk cId="732407738" sldId="449"/>
            <ac:picMk id="19458" creationId="{AD4FC084-E460-4FDE-B24B-B8078181CB5A}"/>
          </ac:picMkLst>
        </pc:picChg>
      </pc:sldChg>
      <pc:sldChg chg="modSp add del mod">
        <pc:chgData name="Thomas Stensitzki" userId="75cafe6b-2f2a-469b-85c4-eec3b9c972ba" providerId="ADAL" clId="{363DE228-8D93-47E2-A1D5-6CB8C68569A9}" dt="2021-04-11T12:37:25.067" v="2450" actId="1440"/>
        <pc:sldMkLst>
          <pc:docMk/>
          <pc:sldMk cId="2730803217" sldId="449"/>
        </pc:sldMkLst>
        <pc:spChg chg="mod">
          <ac:chgData name="Thomas Stensitzki" userId="75cafe6b-2f2a-469b-85c4-eec3b9c972ba" providerId="ADAL" clId="{363DE228-8D93-47E2-A1D5-6CB8C68569A9}" dt="2021-04-11T12:26:57.186" v="2092"/>
          <ac:spMkLst>
            <pc:docMk/>
            <pc:sldMk cId="2730803217" sldId="449"/>
            <ac:spMk id="2" creationId="{50183ADD-E6D0-4570-B5FB-F95BA9130DEC}"/>
          </ac:spMkLst>
        </pc:spChg>
        <pc:picChg chg="mod">
          <ac:chgData name="Thomas Stensitzki" userId="75cafe6b-2f2a-469b-85c4-eec3b9c972ba" providerId="ADAL" clId="{363DE228-8D93-47E2-A1D5-6CB8C68569A9}" dt="2021-04-11T12:37:25.067" v="2450" actId="1440"/>
          <ac:picMkLst>
            <pc:docMk/>
            <pc:sldMk cId="2730803217" sldId="449"/>
            <ac:picMk id="18434" creationId="{4404F047-5A3E-4015-9D2D-FFC316BCED24}"/>
          </ac:picMkLst>
        </pc:picChg>
        <pc:picChg chg="mod">
          <ac:chgData name="Thomas Stensitzki" userId="75cafe6b-2f2a-469b-85c4-eec3b9c972ba" providerId="ADAL" clId="{363DE228-8D93-47E2-A1D5-6CB8C68569A9}" dt="2021-04-11T12:37:24.295" v="2449" actId="1440"/>
          <ac:picMkLst>
            <pc:docMk/>
            <pc:sldMk cId="2730803217" sldId="449"/>
            <ac:picMk id="19458" creationId="{AD4FC084-E460-4FDE-B24B-B8078181CB5A}"/>
          </ac:picMkLst>
        </pc:picChg>
      </pc:sldChg>
      <pc:sldChg chg="addSp">
        <pc:chgData name="Thomas Stensitzki" userId="75cafe6b-2f2a-469b-85c4-eec3b9c972ba" providerId="ADAL" clId="{363DE228-8D93-47E2-A1D5-6CB8C68569A9}" dt="2021-04-11T12:27:08.898" v="2093"/>
        <pc:sldMkLst>
          <pc:docMk/>
          <pc:sldMk cId="2947644510" sldId="449"/>
        </pc:sldMkLst>
        <pc:picChg chg="add">
          <ac:chgData name="Thomas Stensitzki" userId="75cafe6b-2f2a-469b-85c4-eec3b9c972ba" providerId="ADAL" clId="{363DE228-8D93-47E2-A1D5-6CB8C68569A9}" dt="2021-04-11T12:27:08.898" v="2093"/>
          <ac:picMkLst>
            <pc:docMk/>
            <pc:sldMk cId="2947644510" sldId="449"/>
            <ac:picMk id="18434" creationId="{4404F047-5A3E-4015-9D2D-FFC316BCED24}"/>
          </ac:picMkLst>
        </pc:picChg>
      </pc:sldChg>
      <pc:sldChg chg="modSp add del mod modNotesTx">
        <pc:chgData name="Thomas Stensitzki" userId="75cafe6b-2f2a-469b-85c4-eec3b9c972ba" providerId="ADAL" clId="{363DE228-8D93-47E2-A1D5-6CB8C68569A9}" dt="2021-04-11T12:37:18.740" v="2447" actId="1440"/>
        <pc:sldMkLst>
          <pc:docMk/>
          <pc:sldMk cId="1458715789" sldId="450"/>
        </pc:sldMkLst>
        <pc:spChg chg="mod">
          <ac:chgData name="Thomas Stensitzki" userId="75cafe6b-2f2a-469b-85c4-eec3b9c972ba" providerId="ADAL" clId="{363DE228-8D93-47E2-A1D5-6CB8C68569A9}" dt="2021-04-11T12:29:15.667" v="2133"/>
          <ac:spMkLst>
            <pc:docMk/>
            <pc:sldMk cId="1458715789" sldId="450"/>
            <ac:spMk id="2" creationId="{50183ADD-E6D0-4570-B5FB-F95BA9130DEC}"/>
          </ac:spMkLst>
        </pc:spChg>
        <pc:picChg chg="mod">
          <ac:chgData name="Thomas Stensitzki" userId="75cafe6b-2f2a-469b-85c4-eec3b9c972ba" providerId="ADAL" clId="{363DE228-8D93-47E2-A1D5-6CB8C68569A9}" dt="2021-04-11T12:37:18.740" v="2447" actId="1440"/>
          <ac:picMkLst>
            <pc:docMk/>
            <pc:sldMk cId="1458715789" sldId="450"/>
            <ac:picMk id="21506" creationId="{BE06DE3E-E764-42FF-886E-5F8F7A206360}"/>
          </ac:picMkLst>
        </pc:picChg>
      </pc:sldChg>
      <pc:sldChg chg="addSp">
        <pc:chgData name="Thomas Stensitzki" userId="75cafe6b-2f2a-469b-85c4-eec3b9c972ba" providerId="ADAL" clId="{363DE228-8D93-47E2-A1D5-6CB8C68569A9}" dt="2021-04-11T12:29:33.419" v="2136"/>
        <pc:sldMkLst>
          <pc:docMk/>
          <pc:sldMk cId="3580567376" sldId="450"/>
        </pc:sldMkLst>
        <pc:picChg chg="add">
          <ac:chgData name="Thomas Stensitzki" userId="75cafe6b-2f2a-469b-85c4-eec3b9c972ba" providerId="ADAL" clId="{363DE228-8D93-47E2-A1D5-6CB8C68569A9}" dt="2021-04-11T12:29:33.419" v="2136"/>
          <ac:picMkLst>
            <pc:docMk/>
            <pc:sldMk cId="3580567376" sldId="450"/>
            <ac:picMk id="21506" creationId="{BE06DE3E-E764-42FF-886E-5F8F7A206360}"/>
          </ac:picMkLst>
        </pc:picChg>
      </pc:sldChg>
      <pc:sldChg chg="addSp">
        <pc:chgData name="Thomas Stensitzki" userId="75cafe6b-2f2a-469b-85c4-eec3b9c972ba" providerId="ADAL" clId="{363DE228-8D93-47E2-A1D5-6CB8C68569A9}" dt="2021-04-11T12:27:51.512" v="2103"/>
        <pc:sldMkLst>
          <pc:docMk/>
          <pc:sldMk cId="211374260" sldId="451"/>
        </pc:sldMkLst>
        <pc:picChg chg="add">
          <ac:chgData name="Thomas Stensitzki" userId="75cafe6b-2f2a-469b-85c4-eec3b9c972ba" providerId="ADAL" clId="{363DE228-8D93-47E2-A1D5-6CB8C68569A9}" dt="2021-04-11T12:27:51.512" v="2103"/>
          <ac:picMkLst>
            <pc:docMk/>
            <pc:sldMk cId="211374260" sldId="451"/>
            <ac:picMk id="20482" creationId="{F1BF2DED-0738-4DEB-B581-70C36CD1EDC7}"/>
          </ac:picMkLst>
        </pc:picChg>
      </pc:sldChg>
      <pc:sldChg chg="delSp modSp add del">
        <pc:chgData name="Thomas Stensitzki" userId="75cafe6b-2f2a-469b-85c4-eec3b9c972ba" providerId="ADAL" clId="{363DE228-8D93-47E2-A1D5-6CB8C68569A9}" dt="2021-04-11T12:37:20.585" v="2448" actId="1440"/>
        <pc:sldMkLst>
          <pc:docMk/>
          <pc:sldMk cId="3121195372" sldId="451"/>
        </pc:sldMkLst>
        <pc:picChg chg="del">
          <ac:chgData name="Thomas Stensitzki" userId="75cafe6b-2f2a-469b-85c4-eec3b9c972ba" providerId="ADAL" clId="{363DE228-8D93-47E2-A1D5-6CB8C68569A9}" dt="2021-04-11T12:27:47.758" v="2102" actId="478"/>
          <ac:picMkLst>
            <pc:docMk/>
            <pc:sldMk cId="3121195372" sldId="451"/>
            <ac:picMk id="19458" creationId="{AD4FC084-E460-4FDE-B24B-B8078181CB5A}"/>
          </ac:picMkLst>
        </pc:picChg>
        <pc:picChg chg="mod">
          <ac:chgData name="Thomas Stensitzki" userId="75cafe6b-2f2a-469b-85c4-eec3b9c972ba" providerId="ADAL" clId="{363DE228-8D93-47E2-A1D5-6CB8C68569A9}" dt="2021-04-11T12:37:20.585" v="2448" actId="1440"/>
          <ac:picMkLst>
            <pc:docMk/>
            <pc:sldMk cId="3121195372" sldId="451"/>
            <ac:picMk id="20482" creationId="{F1BF2DED-0738-4DEB-B581-70C36CD1EDC7}"/>
          </ac:picMkLst>
        </pc:picChg>
      </pc:sldChg>
      <pc:sldChg chg="addSp modSp add del mod chgLayout">
        <pc:chgData name="Thomas Stensitzki" userId="75cafe6b-2f2a-469b-85c4-eec3b9c972ba" providerId="ADAL" clId="{363DE228-8D93-47E2-A1D5-6CB8C68569A9}" dt="2021-04-11T12:37:16.586" v="2446" actId="1440"/>
        <pc:sldMkLst>
          <pc:docMk/>
          <pc:sldMk cId="2280653341" sldId="452"/>
        </pc:sldMkLst>
        <pc:spChg chg="mod ord">
          <ac:chgData name="Thomas Stensitzki" userId="75cafe6b-2f2a-469b-85c4-eec3b9c972ba" providerId="ADAL" clId="{363DE228-8D93-47E2-A1D5-6CB8C68569A9}" dt="2021-04-11T12:33:53.835" v="2219" actId="700"/>
          <ac:spMkLst>
            <pc:docMk/>
            <pc:sldMk cId="2280653341" sldId="452"/>
            <ac:spMk id="2" creationId="{50183ADD-E6D0-4570-B5FB-F95BA9130DEC}"/>
          </ac:spMkLst>
        </pc:spChg>
        <pc:spChg chg="add mod ord">
          <ac:chgData name="Thomas Stensitzki" userId="75cafe6b-2f2a-469b-85c4-eec3b9c972ba" providerId="ADAL" clId="{363DE228-8D93-47E2-A1D5-6CB8C68569A9}" dt="2021-04-11T12:35:29.204" v="2412" actId="20577"/>
          <ac:spMkLst>
            <pc:docMk/>
            <pc:sldMk cId="2280653341" sldId="452"/>
            <ac:spMk id="3" creationId="{DF8B6183-66A7-405D-A178-0A011BC0CCDA}"/>
          </ac:spMkLst>
        </pc:spChg>
        <pc:picChg chg="mod">
          <ac:chgData name="Thomas Stensitzki" userId="75cafe6b-2f2a-469b-85c4-eec3b9c972ba" providerId="ADAL" clId="{363DE228-8D93-47E2-A1D5-6CB8C68569A9}" dt="2021-04-11T12:37:16.586" v="2446" actId="1440"/>
          <ac:picMkLst>
            <pc:docMk/>
            <pc:sldMk cId="2280653341" sldId="452"/>
            <ac:picMk id="22530" creationId="{BC769D3B-0C62-48F9-B2D4-935C29420114}"/>
          </ac:picMkLst>
        </pc:picChg>
      </pc:sldChg>
      <pc:sldChg chg="addSp">
        <pc:chgData name="Thomas Stensitzki" userId="75cafe6b-2f2a-469b-85c4-eec3b9c972ba" providerId="ADAL" clId="{363DE228-8D93-47E2-A1D5-6CB8C68569A9}" dt="2021-04-11T12:33:19.481" v="2213"/>
        <pc:sldMkLst>
          <pc:docMk/>
          <pc:sldMk cId="3958338536" sldId="452"/>
        </pc:sldMkLst>
        <pc:picChg chg="add">
          <ac:chgData name="Thomas Stensitzki" userId="75cafe6b-2f2a-469b-85c4-eec3b9c972ba" providerId="ADAL" clId="{363DE228-8D93-47E2-A1D5-6CB8C68569A9}" dt="2021-04-11T12:33:19.481" v="2213"/>
          <ac:picMkLst>
            <pc:docMk/>
            <pc:sldMk cId="3958338536" sldId="452"/>
            <ac:picMk id="22530" creationId="{BC769D3B-0C62-48F9-B2D4-935C29420114}"/>
          </ac:picMkLst>
        </pc:picChg>
      </pc:sldChg>
      <pc:sldChg chg="addSp">
        <pc:chgData name="Thomas Stensitzki" userId="75cafe6b-2f2a-469b-85c4-eec3b9c972ba" providerId="ADAL" clId="{363DE228-8D93-47E2-A1D5-6CB8C68569A9}" dt="2021-04-11T12:36:58.282" v="2439"/>
        <pc:sldMkLst>
          <pc:docMk/>
          <pc:sldMk cId="716402514" sldId="453"/>
        </pc:sldMkLst>
        <pc:picChg chg="add">
          <ac:chgData name="Thomas Stensitzki" userId="75cafe6b-2f2a-469b-85c4-eec3b9c972ba" providerId="ADAL" clId="{363DE228-8D93-47E2-A1D5-6CB8C68569A9}" dt="2021-04-11T12:36:58.282" v="2439"/>
          <ac:picMkLst>
            <pc:docMk/>
            <pc:sldMk cId="716402514" sldId="453"/>
            <ac:picMk id="25602" creationId="{2E5A62CE-B198-418D-AFB2-F840A45B318C}"/>
          </ac:picMkLst>
        </pc:picChg>
      </pc:sldChg>
      <pc:sldChg chg="modSp add del mod modNotesTx">
        <pc:chgData name="Thomas Stensitzki" userId="75cafe6b-2f2a-469b-85c4-eec3b9c972ba" providerId="ADAL" clId="{363DE228-8D93-47E2-A1D5-6CB8C68569A9}" dt="2021-04-11T12:37:13.694" v="2445" actId="1440"/>
        <pc:sldMkLst>
          <pc:docMk/>
          <pc:sldMk cId="3153011246" sldId="453"/>
        </pc:sldMkLst>
        <pc:spChg chg="mod">
          <ac:chgData name="Thomas Stensitzki" userId="75cafe6b-2f2a-469b-85c4-eec3b9c972ba" providerId="ADAL" clId="{363DE228-8D93-47E2-A1D5-6CB8C68569A9}" dt="2021-04-11T12:36:15.457" v="2429"/>
          <ac:spMkLst>
            <pc:docMk/>
            <pc:sldMk cId="3153011246" sldId="453"/>
            <ac:spMk id="2" creationId="{50183ADD-E6D0-4570-B5FB-F95BA9130DEC}"/>
          </ac:spMkLst>
        </pc:spChg>
        <pc:picChg chg="mod">
          <ac:chgData name="Thomas Stensitzki" userId="75cafe6b-2f2a-469b-85c4-eec3b9c972ba" providerId="ADAL" clId="{363DE228-8D93-47E2-A1D5-6CB8C68569A9}" dt="2021-04-11T12:37:11.413" v="2443" actId="1440"/>
          <ac:picMkLst>
            <pc:docMk/>
            <pc:sldMk cId="3153011246" sldId="453"/>
            <ac:picMk id="23554" creationId="{5AE28E0E-192A-4861-A7DD-64B0A5A21BDD}"/>
          </ac:picMkLst>
        </pc:picChg>
        <pc:picChg chg="mod">
          <ac:chgData name="Thomas Stensitzki" userId="75cafe6b-2f2a-469b-85c4-eec3b9c972ba" providerId="ADAL" clId="{363DE228-8D93-47E2-A1D5-6CB8C68569A9}" dt="2021-04-11T12:37:12.670" v="2444" actId="1440"/>
          <ac:picMkLst>
            <pc:docMk/>
            <pc:sldMk cId="3153011246" sldId="453"/>
            <ac:picMk id="24578" creationId="{F39A3F11-39F7-48CB-8419-60EC0F3B9A72}"/>
          </ac:picMkLst>
        </pc:picChg>
        <pc:picChg chg="mod">
          <ac:chgData name="Thomas Stensitzki" userId="75cafe6b-2f2a-469b-85c4-eec3b9c972ba" providerId="ADAL" clId="{363DE228-8D93-47E2-A1D5-6CB8C68569A9}" dt="2021-04-11T12:37:13.694" v="2445" actId="1440"/>
          <ac:picMkLst>
            <pc:docMk/>
            <pc:sldMk cId="3153011246" sldId="453"/>
            <ac:picMk id="25602" creationId="{2E5A62CE-B198-418D-AFB2-F840A45B318C}"/>
          </ac:picMkLst>
        </pc:picChg>
      </pc:sldChg>
      <pc:sldChg chg="addSp">
        <pc:chgData name="Thomas Stensitzki" userId="75cafe6b-2f2a-469b-85c4-eec3b9c972ba" providerId="ADAL" clId="{363DE228-8D93-47E2-A1D5-6CB8C68569A9}" dt="2021-04-11T12:36:34.782" v="2432"/>
        <pc:sldMkLst>
          <pc:docMk/>
          <pc:sldMk cId="4090232713" sldId="453"/>
        </pc:sldMkLst>
        <pc:picChg chg="add">
          <ac:chgData name="Thomas Stensitzki" userId="75cafe6b-2f2a-469b-85c4-eec3b9c972ba" providerId="ADAL" clId="{363DE228-8D93-47E2-A1D5-6CB8C68569A9}" dt="2021-04-11T12:36:34.782" v="2432"/>
          <ac:picMkLst>
            <pc:docMk/>
            <pc:sldMk cId="4090232713" sldId="453"/>
            <ac:picMk id="23554" creationId="{5AE28E0E-192A-4861-A7DD-64B0A5A21BDD}"/>
          </ac:picMkLst>
        </pc:picChg>
      </pc:sldChg>
      <pc:sldChg chg="addSp">
        <pc:chgData name="Thomas Stensitzki" userId="75cafe6b-2f2a-469b-85c4-eec3b9c972ba" providerId="ADAL" clId="{363DE228-8D93-47E2-A1D5-6CB8C68569A9}" dt="2021-04-11T12:36:49.244" v="2436"/>
        <pc:sldMkLst>
          <pc:docMk/>
          <pc:sldMk cId="4203898236" sldId="453"/>
        </pc:sldMkLst>
        <pc:picChg chg="add">
          <ac:chgData name="Thomas Stensitzki" userId="75cafe6b-2f2a-469b-85c4-eec3b9c972ba" providerId="ADAL" clId="{363DE228-8D93-47E2-A1D5-6CB8C68569A9}" dt="2021-04-11T12:36:49.244" v="2436"/>
          <ac:picMkLst>
            <pc:docMk/>
            <pc:sldMk cId="4203898236" sldId="453"/>
            <ac:picMk id="24578" creationId="{F39A3F11-39F7-48CB-8419-60EC0F3B9A72}"/>
          </ac:picMkLst>
        </pc:picChg>
      </pc:sldChg>
      <pc:sldChg chg="addSp">
        <pc:chgData name="Thomas Stensitzki" userId="75cafe6b-2f2a-469b-85c4-eec3b9c972ba" providerId="ADAL" clId="{363DE228-8D93-47E2-A1D5-6CB8C68569A9}" dt="2021-04-11T12:47:36.320" v="2572"/>
        <pc:sldMkLst>
          <pc:docMk/>
          <pc:sldMk cId="1895029209" sldId="454"/>
        </pc:sldMkLst>
        <pc:picChg chg="add">
          <ac:chgData name="Thomas Stensitzki" userId="75cafe6b-2f2a-469b-85c4-eec3b9c972ba" providerId="ADAL" clId="{363DE228-8D93-47E2-A1D5-6CB8C68569A9}" dt="2021-04-11T12:47:36.320" v="2572"/>
          <ac:picMkLst>
            <pc:docMk/>
            <pc:sldMk cId="1895029209" sldId="454"/>
            <ac:picMk id="30722" creationId="{8E0174E7-015E-4B6D-B746-4AF6B2457ED1}"/>
          </ac:picMkLst>
        </pc:picChg>
      </pc:sldChg>
      <pc:sldChg chg="modSp add del mod">
        <pc:chgData name="Thomas Stensitzki" userId="75cafe6b-2f2a-469b-85c4-eec3b9c972ba" providerId="ADAL" clId="{363DE228-8D93-47E2-A1D5-6CB8C68569A9}" dt="2021-04-11T12:48:45.181" v="2582" actId="1076"/>
        <pc:sldMkLst>
          <pc:docMk/>
          <pc:sldMk cId="2162326699" sldId="454"/>
        </pc:sldMkLst>
        <pc:spChg chg="mod">
          <ac:chgData name="Thomas Stensitzki" userId="75cafe6b-2f2a-469b-85c4-eec3b9c972ba" providerId="ADAL" clId="{363DE228-8D93-47E2-A1D5-6CB8C68569A9}" dt="2021-04-11T12:47:16.070" v="2566"/>
          <ac:spMkLst>
            <pc:docMk/>
            <pc:sldMk cId="2162326699" sldId="454"/>
            <ac:spMk id="2" creationId="{50183ADD-E6D0-4570-B5FB-F95BA9130DEC}"/>
          </ac:spMkLst>
        </pc:spChg>
        <pc:picChg chg="mod">
          <ac:chgData name="Thomas Stensitzki" userId="75cafe6b-2f2a-469b-85c4-eec3b9c972ba" providerId="ADAL" clId="{363DE228-8D93-47E2-A1D5-6CB8C68569A9}" dt="2021-04-11T12:47:55.833" v="2577" actId="1076"/>
          <ac:picMkLst>
            <pc:docMk/>
            <pc:sldMk cId="2162326699" sldId="454"/>
            <ac:picMk id="29698" creationId="{C3645A00-ECA2-4058-B0FB-020A2E7C29A6}"/>
          </ac:picMkLst>
        </pc:picChg>
        <pc:picChg chg="mod">
          <ac:chgData name="Thomas Stensitzki" userId="75cafe6b-2f2a-469b-85c4-eec3b9c972ba" providerId="ADAL" clId="{363DE228-8D93-47E2-A1D5-6CB8C68569A9}" dt="2021-04-11T12:47:44.659" v="2575" actId="1076"/>
          <ac:picMkLst>
            <pc:docMk/>
            <pc:sldMk cId="2162326699" sldId="454"/>
            <ac:picMk id="30722" creationId="{8E0174E7-015E-4B6D-B746-4AF6B2457ED1}"/>
          </ac:picMkLst>
        </pc:picChg>
        <pc:picChg chg="mod">
          <ac:chgData name="Thomas Stensitzki" userId="75cafe6b-2f2a-469b-85c4-eec3b9c972ba" providerId="ADAL" clId="{363DE228-8D93-47E2-A1D5-6CB8C68569A9}" dt="2021-04-11T12:48:45.181" v="2582" actId="1076"/>
          <ac:picMkLst>
            <pc:docMk/>
            <pc:sldMk cId="2162326699" sldId="454"/>
            <ac:picMk id="31746" creationId="{1DABC163-7246-4150-9A77-805CAE6DBC5D}"/>
          </ac:picMkLst>
        </pc:picChg>
      </pc:sldChg>
      <pc:sldChg chg="addSp">
        <pc:chgData name="Thomas Stensitzki" userId="75cafe6b-2f2a-469b-85c4-eec3b9c972ba" providerId="ADAL" clId="{363DE228-8D93-47E2-A1D5-6CB8C68569A9}" dt="2021-04-11T12:47:25.149" v="2567"/>
        <pc:sldMkLst>
          <pc:docMk/>
          <pc:sldMk cId="2548891359" sldId="454"/>
        </pc:sldMkLst>
        <pc:picChg chg="add">
          <ac:chgData name="Thomas Stensitzki" userId="75cafe6b-2f2a-469b-85c4-eec3b9c972ba" providerId="ADAL" clId="{363DE228-8D93-47E2-A1D5-6CB8C68569A9}" dt="2021-04-11T12:47:25.149" v="2567"/>
          <ac:picMkLst>
            <pc:docMk/>
            <pc:sldMk cId="2548891359" sldId="454"/>
            <ac:picMk id="29698" creationId="{C3645A00-ECA2-4058-B0FB-020A2E7C29A6}"/>
          </ac:picMkLst>
        </pc:picChg>
      </pc:sldChg>
      <pc:sldChg chg="addSp">
        <pc:chgData name="Thomas Stensitzki" userId="75cafe6b-2f2a-469b-85c4-eec3b9c972ba" providerId="ADAL" clId="{363DE228-8D93-47E2-A1D5-6CB8C68569A9}" dt="2021-04-11T12:48:21.492" v="2578"/>
        <pc:sldMkLst>
          <pc:docMk/>
          <pc:sldMk cId="3299701344" sldId="454"/>
        </pc:sldMkLst>
        <pc:picChg chg="add">
          <ac:chgData name="Thomas Stensitzki" userId="75cafe6b-2f2a-469b-85c4-eec3b9c972ba" providerId="ADAL" clId="{363DE228-8D93-47E2-A1D5-6CB8C68569A9}" dt="2021-04-11T12:48:21.492" v="2578"/>
          <ac:picMkLst>
            <pc:docMk/>
            <pc:sldMk cId="3299701344" sldId="454"/>
            <ac:picMk id="31746" creationId="{1DABC163-7246-4150-9A77-805CAE6DBC5D}"/>
          </ac:picMkLst>
        </pc:picChg>
      </pc:sldChg>
      <pc:sldChg chg="modSp add mod ord modNotesTx">
        <pc:chgData name="Thomas Stensitzki" userId="75cafe6b-2f2a-469b-85c4-eec3b9c972ba" providerId="ADAL" clId="{363DE228-8D93-47E2-A1D5-6CB8C68569A9}" dt="2021-04-13T16:15:34.270" v="3781" actId="6549"/>
        <pc:sldMkLst>
          <pc:docMk/>
          <pc:sldMk cId="348069652" sldId="455"/>
        </pc:sldMkLst>
        <pc:spChg chg="mod">
          <ac:chgData name="Thomas Stensitzki" userId="75cafe6b-2f2a-469b-85c4-eec3b9c972ba" providerId="ADAL" clId="{363DE228-8D93-47E2-A1D5-6CB8C68569A9}" dt="2021-04-13T16:14:39.969" v="3718" actId="20577"/>
          <ac:spMkLst>
            <pc:docMk/>
            <pc:sldMk cId="348069652" sldId="455"/>
            <ac:spMk id="5" creationId="{C24DACB5-1BEC-4C86-9652-BAFD8DE56FEF}"/>
          </ac:spMkLst>
        </pc:spChg>
      </pc:sldChg>
      <pc:sldChg chg="modSp add del mod">
        <pc:chgData name="Thomas Stensitzki" userId="75cafe6b-2f2a-469b-85c4-eec3b9c972ba" providerId="ADAL" clId="{363DE228-8D93-47E2-A1D5-6CB8C68569A9}" dt="2021-04-11T12:46:29.471" v="2549" actId="1076"/>
        <pc:sldMkLst>
          <pc:docMk/>
          <pc:sldMk cId="2139259870" sldId="456"/>
        </pc:sldMkLst>
        <pc:spChg chg="mod">
          <ac:chgData name="Thomas Stensitzki" userId="75cafe6b-2f2a-469b-85c4-eec3b9c972ba" providerId="ADAL" clId="{363DE228-8D93-47E2-A1D5-6CB8C68569A9}" dt="2021-04-11T12:46:19.027" v="2545"/>
          <ac:spMkLst>
            <pc:docMk/>
            <pc:sldMk cId="2139259870" sldId="456"/>
            <ac:spMk id="2" creationId="{11E5EEC8-6493-4BA0-8811-4A3F48FE62AF}"/>
          </ac:spMkLst>
        </pc:spChg>
        <pc:picChg chg="mod">
          <ac:chgData name="Thomas Stensitzki" userId="75cafe6b-2f2a-469b-85c4-eec3b9c972ba" providerId="ADAL" clId="{363DE228-8D93-47E2-A1D5-6CB8C68569A9}" dt="2021-04-11T12:46:29.471" v="2549" actId="1076"/>
          <ac:picMkLst>
            <pc:docMk/>
            <pc:sldMk cId="2139259870" sldId="456"/>
            <ac:picMk id="28674" creationId="{6E7C17D7-E3A0-483A-9862-4184DD9A9732}"/>
          </ac:picMkLst>
        </pc:picChg>
      </pc:sldChg>
      <pc:sldChg chg="addSp">
        <pc:chgData name="Thomas Stensitzki" userId="75cafe6b-2f2a-469b-85c4-eec3b9c972ba" providerId="ADAL" clId="{363DE228-8D93-47E2-A1D5-6CB8C68569A9}" dt="2021-04-11T12:46:23.976" v="2546"/>
        <pc:sldMkLst>
          <pc:docMk/>
          <pc:sldMk cId="3180100850" sldId="456"/>
        </pc:sldMkLst>
        <pc:picChg chg="add">
          <ac:chgData name="Thomas Stensitzki" userId="75cafe6b-2f2a-469b-85c4-eec3b9c972ba" providerId="ADAL" clId="{363DE228-8D93-47E2-A1D5-6CB8C68569A9}" dt="2021-04-11T12:46:23.976" v="2546"/>
          <ac:picMkLst>
            <pc:docMk/>
            <pc:sldMk cId="3180100850" sldId="456"/>
            <ac:picMk id="28674" creationId="{6E7C17D7-E3A0-483A-9862-4184DD9A9732}"/>
          </ac:picMkLst>
        </pc:picChg>
      </pc:sldChg>
      <pc:sldChg chg="add del">
        <pc:chgData name="Thomas Stensitzki" userId="75cafe6b-2f2a-469b-85c4-eec3b9c972ba" providerId="ADAL" clId="{363DE228-8D93-47E2-A1D5-6CB8C68569A9}" dt="2021-04-13T16:08:58.964" v="3469" actId="47"/>
        <pc:sldMkLst>
          <pc:docMk/>
          <pc:sldMk cId="2683604596" sldId="457"/>
        </pc:sldMkLst>
      </pc:sldChg>
      <pc:sldChg chg="addSp modSp add del mod chgLayout modNotesTx">
        <pc:chgData name="Thomas Stensitzki" userId="75cafe6b-2f2a-469b-85c4-eec3b9c972ba" providerId="ADAL" clId="{363DE228-8D93-47E2-A1D5-6CB8C68569A9}" dt="2021-04-11T12:55:48.328" v="2759"/>
        <pc:sldMkLst>
          <pc:docMk/>
          <pc:sldMk cId="1637553502" sldId="458"/>
        </pc:sldMkLst>
        <pc:spChg chg="mod ord">
          <ac:chgData name="Thomas Stensitzki" userId="75cafe6b-2f2a-469b-85c4-eec3b9c972ba" providerId="ADAL" clId="{363DE228-8D93-47E2-A1D5-6CB8C68569A9}" dt="2021-04-11T12:53:22.927" v="2655" actId="700"/>
          <ac:spMkLst>
            <pc:docMk/>
            <pc:sldMk cId="1637553502" sldId="458"/>
            <ac:spMk id="2" creationId="{50183ADD-E6D0-4570-B5FB-F95BA9130DEC}"/>
          </ac:spMkLst>
        </pc:spChg>
        <pc:spChg chg="add mod ord">
          <ac:chgData name="Thomas Stensitzki" userId="75cafe6b-2f2a-469b-85c4-eec3b9c972ba" providerId="ADAL" clId="{363DE228-8D93-47E2-A1D5-6CB8C68569A9}" dt="2021-04-11T12:55:33.347" v="2758" actId="27636"/>
          <ac:spMkLst>
            <pc:docMk/>
            <pc:sldMk cId="1637553502" sldId="458"/>
            <ac:spMk id="3" creationId="{70EF8CC2-F62B-46A7-BE9F-E9D86257BB56}"/>
          </ac:spMkLst>
        </pc:spChg>
        <pc:picChg chg="mod">
          <ac:chgData name="Thomas Stensitzki" userId="75cafe6b-2f2a-469b-85c4-eec3b9c972ba" providerId="ADAL" clId="{363DE228-8D93-47E2-A1D5-6CB8C68569A9}" dt="2021-04-11T12:53:17.299" v="2654" actId="1076"/>
          <ac:picMkLst>
            <pc:docMk/>
            <pc:sldMk cId="1637553502" sldId="458"/>
            <ac:picMk id="32770" creationId="{5BC0231E-536B-41F0-87EE-B6A8992D5DC6}"/>
          </ac:picMkLst>
        </pc:picChg>
        <pc:picChg chg="mod">
          <ac:chgData name="Thomas Stensitzki" userId="75cafe6b-2f2a-469b-85c4-eec3b9c972ba" providerId="ADAL" clId="{363DE228-8D93-47E2-A1D5-6CB8C68569A9}" dt="2021-04-11T12:53:15.049" v="2653" actId="1076"/>
          <ac:picMkLst>
            <pc:docMk/>
            <pc:sldMk cId="1637553502" sldId="458"/>
            <ac:picMk id="33794" creationId="{E218DB04-B23B-4A06-91C9-44B74FB67672}"/>
          </ac:picMkLst>
        </pc:picChg>
      </pc:sldChg>
      <pc:sldChg chg="addSp">
        <pc:chgData name="Thomas Stensitzki" userId="75cafe6b-2f2a-469b-85c4-eec3b9c972ba" providerId="ADAL" clId="{363DE228-8D93-47E2-A1D5-6CB8C68569A9}" dt="2021-04-11T12:52:58.962" v="2646"/>
        <pc:sldMkLst>
          <pc:docMk/>
          <pc:sldMk cId="1979311415" sldId="458"/>
        </pc:sldMkLst>
        <pc:picChg chg="add">
          <ac:chgData name="Thomas Stensitzki" userId="75cafe6b-2f2a-469b-85c4-eec3b9c972ba" providerId="ADAL" clId="{363DE228-8D93-47E2-A1D5-6CB8C68569A9}" dt="2021-04-11T12:52:58.962" v="2646"/>
          <ac:picMkLst>
            <pc:docMk/>
            <pc:sldMk cId="1979311415" sldId="458"/>
            <ac:picMk id="32770" creationId="{5BC0231E-536B-41F0-87EE-B6A8992D5DC6}"/>
          </ac:picMkLst>
        </pc:picChg>
      </pc:sldChg>
      <pc:sldChg chg="addSp">
        <pc:chgData name="Thomas Stensitzki" userId="75cafe6b-2f2a-469b-85c4-eec3b9c972ba" providerId="ADAL" clId="{363DE228-8D93-47E2-A1D5-6CB8C68569A9}" dt="2021-04-11T12:53:09.077" v="2650"/>
        <pc:sldMkLst>
          <pc:docMk/>
          <pc:sldMk cId="3755221492" sldId="458"/>
        </pc:sldMkLst>
        <pc:picChg chg="add">
          <ac:chgData name="Thomas Stensitzki" userId="75cafe6b-2f2a-469b-85c4-eec3b9c972ba" providerId="ADAL" clId="{363DE228-8D93-47E2-A1D5-6CB8C68569A9}" dt="2021-04-11T12:53:09.077" v="2650"/>
          <ac:picMkLst>
            <pc:docMk/>
            <pc:sldMk cId="3755221492" sldId="458"/>
            <ac:picMk id="33794" creationId="{E218DB04-B23B-4A06-91C9-44B74FB67672}"/>
          </ac:picMkLst>
        </pc:picChg>
      </pc:sldChg>
      <pc:sldChg chg="modSp add mod ord modNotesTx">
        <pc:chgData name="Thomas Stensitzki" userId="75cafe6b-2f2a-469b-85c4-eec3b9c972ba" providerId="ADAL" clId="{363DE228-8D93-47E2-A1D5-6CB8C68569A9}" dt="2021-04-13T15:57:37.180" v="2859"/>
        <pc:sldMkLst>
          <pc:docMk/>
          <pc:sldMk cId="788649752" sldId="459"/>
        </pc:sldMkLst>
        <pc:spChg chg="mod">
          <ac:chgData name="Thomas Stensitzki" userId="75cafe6b-2f2a-469b-85c4-eec3b9c972ba" providerId="ADAL" clId="{363DE228-8D93-47E2-A1D5-6CB8C68569A9}" dt="2021-04-11T13:01:05.786" v="2843" actId="20577"/>
          <ac:spMkLst>
            <pc:docMk/>
            <pc:sldMk cId="788649752" sldId="459"/>
            <ac:spMk id="5" creationId="{C24DACB5-1BEC-4C86-9652-BAFD8DE56FEF}"/>
          </ac:spMkLst>
        </pc:spChg>
      </pc:sldChg>
      <pc:sldChg chg="addSp">
        <pc:chgData name="Thomas Stensitzki" userId="75cafe6b-2f2a-469b-85c4-eec3b9c972ba" providerId="ADAL" clId="{363DE228-8D93-47E2-A1D5-6CB8C68569A9}" dt="2021-04-11T13:01:24.618" v="2845"/>
        <pc:sldMkLst>
          <pc:docMk/>
          <pc:sldMk cId="20385009" sldId="460"/>
        </pc:sldMkLst>
        <pc:picChg chg="add">
          <ac:chgData name="Thomas Stensitzki" userId="75cafe6b-2f2a-469b-85c4-eec3b9c972ba" providerId="ADAL" clId="{363DE228-8D93-47E2-A1D5-6CB8C68569A9}" dt="2021-04-11T13:01:24.618" v="2845"/>
          <ac:picMkLst>
            <pc:docMk/>
            <pc:sldMk cId="20385009" sldId="460"/>
            <ac:picMk id="34818" creationId="{D9689A9F-A110-4FD0-9746-0DED56526C66}"/>
          </ac:picMkLst>
        </pc:picChg>
      </pc:sldChg>
      <pc:sldChg chg="modSp add del mod">
        <pc:chgData name="Thomas Stensitzki" userId="75cafe6b-2f2a-469b-85c4-eec3b9c972ba" providerId="ADAL" clId="{363DE228-8D93-47E2-A1D5-6CB8C68569A9}" dt="2021-04-11T13:01:29.492" v="2848" actId="1076"/>
        <pc:sldMkLst>
          <pc:docMk/>
          <pc:sldMk cId="1264814093" sldId="460"/>
        </pc:sldMkLst>
        <pc:spChg chg="mod">
          <ac:chgData name="Thomas Stensitzki" userId="75cafe6b-2f2a-469b-85c4-eec3b9c972ba" providerId="ADAL" clId="{363DE228-8D93-47E2-A1D5-6CB8C68569A9}" dt="2021-04-11T13:01:15.209" v="2844"/>
          <ac:spMkLst>
            <pc:docMk/>
            <pc:sldMk cId="1264814093" sldId="460"/>
            <ac:spMk id="2" creationId="{50183ADD-E6D0-4570-B5FB-F95BA9130DEC}"/>
          </ac:spMkLst>
        </pc:spChg>
        <pc:picChg chg="mod">
          <ac:chgData name="Thomas Stensitzki" userId="75cafe6b-2f2a-469b-85c4-eec3b9c972ba" providerId="ADAL" clId="{363DE228-8D93-47E2-A1D5-6CB8C68569A9}" dt="2021-04-11T13:01:29.492" v="2848" actId="1076"/>
          <ac:picMkLst>
            <pc:docMk/>
            <pc:sldMk cId="1264814093" sldId="460"/>
            <ac:picMk id="34818" creationId="{D9689A9F-A110-4FD0-9746-0DED56526C66}"/>
          </ac:picMkLst>
        </pc:picChg>
      </pc:sldChg>
      <pc:sldChg chg="modSp add mod">
        <pc:chgData name="Thomas Stensitzki" userId="75cafe6b-2f2a-469b-85c4-eec3b9c972ba" providerId="ADAL" clId="{363DE228-8D93-47E2-A1D5-6CB8C68569A9}" dt="2021-04-13T15:58:53.009" v="2897" actId="1036"/>
        <pc:sldMkLst>
          <pc:docMk/>
          <pc:sldMk cId="3877520136" sldId="461"/>
        </pc:sldMkLst>
        <pc:spChg chg="mod">
          <ac:chgData name="Thomas Stensitzki" userId="75cafe6b-2f2a-469b-85c4-eec3b9c972ba" providerId="ADAL" clId="{363DE228-8D93-47E2-A1D5-6CB8C68569A9}" dt="2021-04-13T15:58:53.009" v="2897" actId="1036"/>
          <ac:spMkLst>
            <pc:docMk/>
            <pc:sldMk cId="3877520136" sldId="461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363DE228-8D93-47E2-A1D5-6CB8C68569A9}" dt="2021-04-13T15:59:23.476" v="2944" actId="14100"/>
        <pc:sldMkLst>
          <pc:docMk/>
          <pc:sldMk cId="2362987111" sldId="462"/>
        </pc:sldMkLst>
        <pc:spChg chg="mod">
          <ac:chgData name="Thomas Stensitzki" userId="75cafe6b-2f2a-469b-85c4-eec3b9c972ba" providerId="ADAL" clId="{363DE228-8D93-47E2-A1D5-6CB8C68569A9}" dt="2021-04-13T15:59:23.476" v="2944" actId="14100"/>
          <ac:spMkLst>
            <pc:docMk/>
            <pc:sldMk cId="2362987111" sldId="462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363DE228-8D93-47E2-A1D5-6CB8C68569A9}" dt="2021-04-13T16:00:02.977" v="2977" actId="1036"/>
        <pc:sldMkLst>
          <pc:docMk/>
          <pc:sldMk cId="22916493" sldId="463"/>
        </pc:sldMkLst>
        <pc:spChg chg="mod">
          <ac:chgData name="Thomas Stensitzki" userId="75cafe6b-2f2a-469b-85c4-eec3b9c972ba" providerId="ADAL" clId="{363DE228-8D93-47E2-A1D5-6CB8C68569A9}" dt="2021-04-13T16:00:02.977" v="2977" actId="1036"/>
          <ac:spMkLst>
            <pc:docMk/>
            <pc:sldMk cId="22916493" sldId="463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363DE228-8D93-47E2-A1D5-6CB8C68569A9}" dt="2021-04-13T16:00:25.706" v="3011" actId="14100"/>
        <pc:sldMkLst>
          <pc:docMk/>
          <pc:sldMk cId="4141395919" sldId="464"/>
        </pc:sldMkLst>
        <pc:spChg chg="mod">
          <ac:chgData name="Thomas Stensitzki" userId="75cafe6b-2f2a-469b-85c4-eec3b9c972ba" providerId="ADAL" clId="{363DE228-8D93-47E2-A1D5-6CB8C68569A9}" dt="2021-04-13T16:00:25.706" v="3011" actId="14100"/>
          <ac:spMkLst>
            <pc:docMk/>
            <pc:sldMk cId="4141395919" sldId="464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363DE228-8D93-47E2-A1D5-6CB8C68569A9}" dt="2021-04-13T16:02:15.998" v="3044" actId="1035"/>
        <pc:sldMkLst>
          <pc:docMk/>
          <pc:sldMk cId="2927016727" sldId="465"/>
        </pc:sldMkLst>
        <pc:spChg chg="mod">
          <ac:chgData name="Thomas Stensitzki" userId="75cafe6b-2f2a-469b-85c4-eec3b9c972ba" providerId="ADAL" clId="{363DE228-8D93-47E2-A1D5-6CB8C68569A9}" dt="2021-04-13T16:02:15.998" v="3044" actId="1035"/>
          <ac:spMkLst>
            <pc:docMk/>
            <pc:sldMk cId="2927016727" sldId="465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363DE228-8D93-47E2-A1D5-6CB8C68569A9}" dt="2021-04-13T16:04:38.921" v="3176" actId="20577"/>
        <pc:sldMkLst>
          <pc:docMk/>
          <pc:sldMk cId="749460758" sldId="466"/>
        </pc:sldMkLst>
        <pc:spChg chg="mod">
          <ac:chgData name="Thomas Stensitzki" userId="75cafe6b-2f2a-469b-85c4-eec3b9c972ba" providerId="ADAL" clId="{363DE228-8D93-47E2-A1D5-6CB8C68569A9}" dt="2021-04-13T16:02:37.113" v="3073" actId="14100"/>
          <ac:spMkLst>
            <pc:docMk/>
            <pc:sldMk cId="749460758" sldId="466"/>
            <ac:spMk id="2" creationId="{909DC09D-B9A6-4493-9A72-1CA7ECB1F5CA}"/>
          </ac:spMkLst>
        </pc:spChg>
        <pc:spChg chg="mod">
          <ac:chgData name="Thomas Stensitzki" userId="75cafe6b-2f2a-469b-85c4-eec3b9c972ba" providerId="ADAL" clId="{363DE228-8D93-47E2-A1D5-6CB8C68569A9}" dt="2021-04-13T16:04:38.921" v="3176" actId="20577"/>
          <ac:spMkLst>
            <pc:docMk/>
            <pc:sldMk cId="749460758" sldId="466"/>
            <ac:spMk id="5" creationId="{C24DACB5-1BEC-4C86-9652-BAFD8DE56FEF}"/>
          </ac:spMkLst>
        </pc:spChg>
      </pc:sldChg>
      <pc:sldChg chg="modSp add mod ord">
        <pc:chgData name="Thomas Stensitzki" userId="75cafe6b-2f2a-469b-85c4-eec3b9c972ba" providerId="ADAL" clId="{363DE228-8D93-47E2-A1D5-6CB8C68569A9}" dt="2021-04-13T16:04:31.774" v="3174" actId="20577"/>
        <pc:sldMkLst>
          <pc:docMk/>
          <pc:sldMk cId="2400256164" sldId="467"/>
        </pc:sldMkLst>
        <pc:spChg chg="mod">
          <ac:chgData name="Thomas Stensitzki" userId="75cafe6b-2f2a-469b-85c4-eec3b9c972ba" providerId="ADAL" clId="{363DE228-8D93-47E2-A1D5-6CB8C68569A9}" dt="2021-04-13T16:03:24.453" v="3103" actId="14100"/>
          <ac:spMkLst>
            <pc:docMk/>
            <pc:sldMk cId="2400256164" sldId="467"/>
            <ac:spMk id="2" creationId="{909DC09D-B9A6-4493-9A72-1CA7ECB1F5CA}"/>
          </ac:spMkLst>
        </pc:spChg>
        <pc:spChg chg="mod">
          <ac:chgData name="Thomas Stensitzki" userId="75cafe6b-2f2a-469b-85c4-eec3b9c972ba" providerId="ADAL" clId="{363DE228-8D93-47E2-A1D5-6CB8C68569A9}" dt="2021-04-13T16:04:31.774" v="3174" actId="20577"/>
          <ac:spMkLst>
            <pc:docMk/>
            <pc:sldMk cId="2400256164" sldId="467"/>
            <ac:spMk id="5" creationId="{C24DACB5-1BEC-4C86-9652-BAFD8DE56FEF}"/>
          </ac:spMkLst>
        </pc:spChg>
      </pc:sldChg>
      <pc:sldChg chg="modSp add mod ord">
        <pc:chgData name="Thomas Stensitzki" userId="75cafe6b-2f2a-469b-85c4-eec3b9c972ba" providerId="ADAL" clId="{363DE228-8D93-47E2-A1D5-6CB8C68569A9}" dt="2021-04-13T16:04:22.751" v="3172" actId="20577"/>
        <pc:sldMkLst>
          <pc:docMk/>
          <pc:sldMk cId="980357780" sldId="468"/>
        </pc:sldMkLst>
        <pc:spChg chg="mod">
          <ac:chgData name="Thomas Stensitzki" userId="75cafe6b-2f2a-469b-85c4-eec3b9c972ba" providerId="ADAL" clId="{363DE228-8D93-47E2-A1D5-6CB8C68569A9}" dt="2021-04-13T16:03:46.991" v="3126" actId="14100"/>
          <ac:spMkLst>
            <pc:docMk/>
            <pc:sldMk cId="980357780" sldId="468"/>
            <ac:spMk id="2" creationId="{909DC09D-B9A6-4493-9A72-1CA7ECB1F5CA}"/>
          </ac:spMkLst>
        </pc:spChg>
        <pc:spChg chg="mod">
          <ac:chgData name="Thomas Stensitzki" userId="75cafe6b-2f2a-469b-85c4-eec3b9c972ba" providerId="ADAL" clId="{363DE228-8D93-47E2-A1D5-6CB8C68569A9}" dt="2021-04-13T16:04:22.751" v="3172" actId="20577"/>
          <ac:spMkLst>
            <pc:docMk/>
            <pc:sldMk cId="980357780" sldId="468"/>
            <ac:spMk id="5" creationId="{C24DACB5-1BEC-4C86-9652-BAFD8DE56FEF}"/>
          </ac:spMkLst>
        </pc:spChg>
      </pc:sldChg>
      <pc:sldChg chg="modSp add mod ord">
        <pc:chgData name="Thomas Stensitzki" userId="75cafe6b-2f2a-469b-85c4-eec3b9c972ba" providerId="ADAL" clId="{363DE228-8D93-47E2-A1D5-6CB8C68569A9}" dt="2021-04-13T16:04:16.308" v="3170" actId="20577"/>
        <pc:sldMkLst>
          <pc:docMk/>
          <pc:sldMk cId="1498882424" sldId="469"/>
        </pc:sldMkLst>
        <pc:spChg chg="mod">
          <ac:chgData name="Thomas Stensitzki" userId="75cafe6b-2f2a-469b-85c4-eec3b9c972ba" providerId="ADAL" clId="{363DE228-8D93-47E2-A1D5-6CB8C68569A9}" dt="2021-04-13T16:04:08.845" v="3168" actId="1035"/>
          <ac:spMkLst>
            <pc:docMk/>
            <pc:sldMk cId="1498882424" sldId="469"/>
            <ac:spMk id="2" creationId="{909DC09D-B9A6-4493-9A72-1CA7ECB1F5CA}"/>
          </ac:spMkLst>
        </pc:spChg>
        <pc:spChg chg="mod">
          <ac:chgData name="Thomas Stensitzki" userId="75cafe6b-2f2a-469b-85c4-eec3b9c972ba" providerId="ADAL" clId="{363DE228-8D93-47E2-A1D5-6CB8C68569A9}" dt="2021-04-13T16:04:16.308" v="3170" actId="20577"/>
          <ac:spMkLst>
            <pc:docMk/>
            <pc:sldMk cId="1498882424" sldId="469"/>
            <ac:spMk id="5" creationId="{C24DACB5-1BEC-4C86-9652-BAFD8DE56FEF}"/>
          </ac:spMkLst>
        </pc:spChg>
      </pc:sldChg>
      <pc:sldChg chg="modSp add mod ord">
        <pc:chgData name="Thomas Stensitzki" userId="75cafe6b-2f2a-469b-85c4-eec3b9c972ba" providerId="ADAL" clId="{363DE228-8D93-47E2-A1D5-6CB8C68569A9}" dt="2021-04-13T16:05:07.975" v="3203" actId="1035"/>
        <pc:sldMkLst>
          <pc:docMk/>
          <pc:sldMk cId="4225794366" sldId="470"/>
        </pc:sldMkLst>
        <pc:spChg chg="mod">
          <ac:chgData name="Thomas Stensitzki" userId="75cafe6b-2f2a-469b-85c4-eec3b9c972ba" providerId="ADAL" clId="{363DE228-8D93-47E2-A1D5-6CB8C68569A9}" dt="2021-04-13T16:05:07.975" v="3203" actId="1035"/>
          <ac:spMkLst>
            <pc:docMk/>
            <pc:sldMk cId="4225794366" sldId="470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363DE228-8D93-47E2-A1D5-6CB8C68569A9}" dt="2021-04-13T16:05:51.873" v="3236" actId="1036"/>
        <pc:sldMkLst>
          <pc:docMk/>
          <pc:sldMk cId="755424041" sldId="471"/>
        </pc:sldMkLst>
        <pc:spChg chg="mod">
          <ac:chgData name="Thomas Stensitzki" userId="75cafe6b-2f2a-469b-85c4-eec3b9c972ba" providerId="ADAL" clId="{363DE228-8D93-47E2-A1D5-6CB8C68569A9}" dt="2021-04-13T16:05:51.873" v="3236" actId="1036"/>
          <ac:spMkLst>
            <pc:docMk/>
            <pc:sldMk cId="755424041" sldId="471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363DE228-8D93-47E2-A1D5-6CB8C68569A9}" dt="2021-04-13T16:06:07.369" v="3263" actId="1035"/>
        <pc:sldMkLst>
          <pc:docMk/>
          <pc:sldMk cId="2377230893" sldId="472"/>
        </pc:sldMkLst>
        <pc:spChg chg="mod">
          <ac:chgData name="Thomas Stensitzki" userId="75cafe6b-2f2a-469b-85c4-eec3b9c972ba" providerId="ADAL" clId="{363DE228-8D93-47E2-A1D5-6CB8C68569A9}" dt="2021-04-13T16:06:07.369" v="3263" actId="1035"/>
          <ac:spMkLst>
            <pc:docMk/>
            <pc:sldMk cId="2377230893" sldId="472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363DE228-8D93-47E2-A1D5-6CB8C68569A9}" dt="2021-04-13T16:06:34.039" v="3300" actId="1036"/>
        <pc:sldMkLst>
          <pc:docMk/>
          <pc:sldMk cId="2293811491" sldId="473"/>
        </pc:sldMkLst>
        <pc:spChg chg="mod">
          <ac:chgData name="Thomas Stensitzki" userId="75cafe6b-2f2a-469b-85c4-eec3b9c972ba" providerId="ADAL" clId="{363DE228-8D93-47E2-A1D5-6CB8C68569A9}" dt="2021-04-13T16:06:34.039" v="3300" actId="1036"/>
          <ac:spMkLst>
            <pc:docMk/>
            <pc:sldMk cId="2293811491" sldId="473"/>
            <ac:spMk id="2" creationId="{909DC09D-B9A6-4493-9A72-1CA7ECB1F5CA}"/>
          </ac:spMkLst>
        </pc:spChg>
      </pc:sldChg>
      <pc:sldChg chg="modSp add mod">
        <pc:chgData name="Thomas Stensitzki" userId="75cafe6b-2f2a-469b-85c4-eec3b9c972ba" providerId="ADAL" clId="{363DE228-8D93-47E2-A1D5-6CB8C68569A9}" dt="2021-04-13T16:06:47.171" v="3320" actId="1036"/>
        <pc:sldMkLst>
          <pc:docMk/>
          <pc:sldMk cId="3651213508" sldId="474"/>
        </pc:sldMkLst>
        <pc:spChg chg="mod">
          <ac:chgData name="Thomas Stensitzki" userId="75cafe6b-2f2a-469b-85c4-eec3b9c972ba" providerId="ADAL" clId="{363DE228-8D93-47E2-A1D5-6CB8C68569A9}" dt="2021-04-13T16:06:47.171" v="3320" actId="1036"/>
          <ac:spMkLst>
            <pc:docMk/>
            <pc:sldMk cId="3651213508" sldId="474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363DE228-8D93-47E2-A1D5-6CB8C68569A9}" dt="2021-04-13T16:07:01.826" v="3346" actId="1035"/>
        <pc:sldMkLst>
          <pc:docMk/>
          <pc:sldMk cId="2954743898" sldId="475"/>
        </pc:sldMkLst>
        <pc:spChg chg="mod">
          <ac:chgData name="Thomas Stensitzki" userId="75cafe6b-2f2a-469b-85c4-eec3b9c972ba" providerId="ADAL" clId="{363DE228-8D93-47E2-A1D5-6CB8C68569A9}" dt="2021-04-13T16:07:01.826" v="3346" actId="1035"/>
          <ac:spMkLst>
            <pc:docMk/>
            <pc:sldMk cId="2954743898" sldId="475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363DE228-8D93-47E2-A1D5-6CB8C68569A9}" dt="2021-04-13T16:07:12.843" v="3368" actId="1036"/>
        <pc:sldMkLst>
          <pc:docMk/>
          <pc:sldMk cId="3637848067" sldId="476"/>
        </pc:sldMkLst>
        <pc:spChg chg="mod">
          <ac:chgData name="Thomas Stensitzki" userId="75cafe6b-2f2a-469b-85c4-eec3b9c972ba" providerId="ADAL" clId="{363DE228-8D93-47E2-A1D5-6CB8C68569A9}" dt="2021-04-13T16:07:12.843" v="3368" actId="1036"/>
          <ac:spMkLst>
            <pc:docMk/>
            <pc:sldMk cId="3637848067" sldId="476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363DE228-8D93-47E2-A1D5-6CB8C68569A9}" dt="2021-04-13T16:07:31.139" v="3394" actId="14100"/>
        <pc:sldMkLst>
          <pc:docMk/>
          <pc:sldMk cId="1694765860" sldId="477"/>
        </pc:sldMkLst>
        <pc:spChg chg="mod">
          <ac:chgData name="Thomas Stensitzki" userId="75cafe6b-2f2a-469b-85c4-eec3b9c972ba" providerId="ADAL" clId="{363DE228-8D93-47E2-A1D5-6CB8C68569A9}" dt="2021-04-13T16:07:31.139" v="3394" actId="14100"/>
          <ac:spMkLst>
            <pc:docMk/>
            <pc:sldMk cId="1694765860" sldId="477"/>
            <ac:spMk id="2" creationId="{909DC09D-B9A6-4493-9A72-1CA7ECB1F5CA}"/>
          </ac:spMkLst>
        </pc:spChg>
      </pc:sldChg>
      <pc:sldChg chg="modSp add mod">
        <pc:chgData name="Thomas Stensitzki" userId="75cafe6b-2f2a-469b-85c4-eec3b9c972ba" providerId="ADAL" clId="{363DE228-8D93-47E2-A1D5-6CB8C68569A9}" dt="2021-04-13T16:07:52.644" v="3419" actId="14100"/>
        <pc:sldMkLst>
          <pc:docMk/>
          <pc:sldMk cId="1953275783" sldId="478"/>
        </pc:sldMkLst>
        <pc:spChg chg="mod">
          <ac:chgData name="Thomas Stensitzki" userId="75cafe6b-2f2a-469b-85c4-eec3b9c972ba" providerId="ADAL" clId="{363DE228-8D93-47E2-A1D5-6CB8C68569A9}" dt="2021-04-13T16:07:52.644" v="3419" actId="14100"/>
          <ac:spMkLst>
            <pc:docMk/>
            <pc:sldMk cId="1953275783" sldId="478"/>
            <ac:spMk id="2" creationId="{909DC09D-B9A6-4493-9A72-1CA7ECB1F5CA}"/>
          </ac:spMkLst>
        </pc:spChg>
      </pc:sldChg>
      <pc:sldChg chg="modSp add mod">
        <pc:chgData name="Thomas Stensitzki" userId="75cafe6b-2f2a-469b-85c4-eec3b9c972ba" providerId="ADAL" clId="{363DE228-8D93-47E2-A1D5-6CB8C68569A9}" dt="2021-04-13T16:08:06.638" v="3444" actId="1036"/>
        <pc:sldMkLst>
          <pc:docMk/>
          <pc:sldMk cId="642574017" sldId="479"/>
        </pc:sldMkLst>
        <pc:spChg chg="mod">
          <ac:chgData name="Thomas Stensitzki" userId="75cafe6b-2f2a-469b-85c4-eec3b9c972ba" providerId="ADAL" clId="{363DE228-8D93-47E2-A1D5-6CB8C68569A9}" dt="2021-04-13T16:08:06.638" v="3444" actId="1036"/>
          <ac:spMkLst>
            <pc:docMk/>
            <pc:sldMk cId="642574017" sldId="479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363DE228-8D93-47E2-A1D5-6CB8C68569A9}" dt="2021-04-13T16:08:19.199" v="3465" actId="1035"/>
        <pc:sldMkLst>
          <pc:docMk/>
          <pc:sldMk cId="2167556490" sldId="480"/>
        </pc:sldMkLst>
        <pc:spChg chg="mod">
          <ac:chgData name="Thomas Stensitzki" userId="75cafe6b-2f2a-469b-85c4-eec3b9c972ba" providerId="ADAL" clId="{363DE228-8D93-47E2-A1D5-6CB8C68569A9}" dt="2021-04-13T16:08:19.199" v="3465" actId="1035"/>
          <ac:spMkLst>
            <pc:docMk/>
            <pc:sldMk cId="2167556490" sldId="480"/>
            <ac:spMk id="2" creationId="{909DC09D-B9A6-4493-9A72-1CA7ECB1F5CA}"/>
          </ac:spMkLst>
        </pc:spChg>
      </pc:sldChg>
      <pc:sldChg chg="modSp add mod ord modNotesTx">
        <pc:chgData name="Thomas Stensitzki" userId="75cafe6b-2f2a-469b-85c4-eec3b9c972ba" providerId="ADAL" clId="{363DE228-8D93-47E2-A1D5-6CB8C68569A9}" dt="2021-04-13T16:12:40.832" v="3593" actId="6549"/>
        <pc:sldMkLst>
          <pc:docMk/>
          <pc:sldMk cId="1129715017" sldId="481"/>
        </pc:sldMkLst>
        <pc:spChg chg="mod">
          <ac:chgData name="Thomas Stensitzki" userId="75cafe6b-2f2a-469b-85c4-eec3b9c972ba" providerId="ADAL" clId="{363DE228-8D93-47E2-A1D5-6CB8C68569A9}" dt="2021-04-13T16:11:22.912" v="3517" actId="1035"/>
          <ac:spMkLst>
            <pc:docMk/>
            <pc:sldMk cId="1129715017" sldId="481"/>
            <ac:spMk id="2" creationId="{909DC09D-B9A6-4493-9A72-1CA7ECB1F5CA}"/>
          </ac:spMkLst>
        </pc:spChg>
        <pc:spChg chg="mod">
          <ac:chgData name="Thomas Stensitzki" userId="75cafe6b-2f2a-469b-85c4-eec3b9c972ba" providerId="ADAL" clId="{363DE228-8D93-47E2-A1D5-6CB8C68569A9}" dt="2021-04-13T16:11:14.137" v="3488" actId="20577"/>
          <ac:spMkLst>
            <pc:docMk/>
            <pc:sldMk cId="1129715017" sldId="481"/>
            <ac:spMk id="5" creationId="{C24DACB5-1BEC-4C86-9652-BAFD8DE56FEF}"/>
          </ac:spMkLst>
        </pc:spChg>
      </pc:sldChg>
      <pc:sldChg chg="modSp add mod ord modNotesTx">
        <pc:chgData name="Thomas Stensitzki" userId="75cafe6b-2f2a-469b-85c4-eec3b9c972ba" providerId="ADAL" clId="{363DE228-8D93-47E2-A1D5-6CB8C68569A9}" dt="2021-04-13T16:12:35.724" v="3592" actId="6549"/>
        <pc:sldMkLst>
          <pc:docMk/>
          <pc:sldMk cId="447580809" sldId="482"/>
        </pc:sldMkLst>
        <pc:spChg chg="mod">
          <ac:chgData name="Thomas Stensitzki" userId="75cafe6b-2f2a-469b-85c4-eec3b9c972ba" providerId="ADAL" clId="{363DE228-8D93-47E2-A1D5-6CB8C68569A9}" dt="2021-04-13T16:11:48.887" v="3557" actId="14100"/>
          <ac:spMkLst>
            <pc:docMk/>
            <pc:sldMk cId="447580809" sldId="482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363DE228-8D93-47E2-A1D5-6CB8C68569A9}" dt="2021-04-13T16:12:09.558" v="3563" actId="14100"/>
        <pc:sldMkLst>
          <pc:docMk/>
          <pc:sldMk cId="2109578151" sldId="483"/>
        </pc:sldMkLst>
        <pc:spChg chg="mod">
          <ac:chgData name="Thomas Stensitzki" userId="75cafe6b-2f2a-469b-85c4-eec3b9c972ba" providerId="ADAL" clId="{363DE228-8D93-47E2-A1D5-6CB8C68569A9}" dt="2021-04-13T16:12:09.558" v="3563" actId="14100"/>
          <ac:spMkLst>
            <pc:docMk/>
            <pc:sldMk cId="2109578151" sldId="483"/>
            <ac:spMk id="2" creationId="{909DC09D-B9A6-4493-9A72-1CA7ECB1F5CA}"/>
          </ac:spMkLst>
        </pc:spChg>
      </pc:sldChg>
      <pc:sldChg chg="modSp add mod modNotesTx">
        <pc:chgData name="Thomas Stensitzki" userId="75cafe6b-2f2a-469b-85c4-eec3b9c972ba" providerId="ADAL" clId="{363DE228-8D93-47E2-A1D5-6CB8C68569A9}" dt="2021-04-13T16:12:29.431" v="3591" actId="6549"/>
        <pc:sldMkLst>
          <pc:docMk/>
          <pc:sldMk cId="3880581928" sldId="484"/>
        </pc:sldMkLst>
        <pc:spChg chg="mod">
          <ac:chgData name="Thomas Stensitzki" userId="75cafe6b-2f2a-469b-85c4-eec3b9c972ba" providerId="ADAL" clId="{363DE228-8D93-47E2-A1D5-6CB8C68569A9}" dt="2021-04-13T16:12:21.007" v="3590" actId="1035"/>
          <ac:spMkLst>
            <pc:docMk/>
            <pc:sldMk cId="3880581928" sldId="484"/>
            <ac:spMk id="2" creationId="{909DC09D-B9A6-4493-9A72-1CA7ECB1F5CA}"/>
          </ac:spMkLst>
        </pc:spChg>
      </pc:sldChg>
      <pc:sldChg chg="modSp add mod modNotesTx">
        <pc:chgData name="Thomas Stensitzki" userId="75cafe6b-2f2a-469b-85c4-eec3b9c972ba" providerId="ADAL" clId="{363DE228-8D93-47E2-A1D5-6CB8C68569A9}" dt="2021-04-13T16:13:36.587" v="3658" actId="6549"/>
        <pc:sldMkLst>
          <pc:docMk/>
          <pc:sldMk cId="1578197255" sldId="485"/>
        </pc:sldMkLst>
        <pc:spChg chg="mod">
          <ac:chgData name="Thomas Stensitzki" userId="75cafe6b-2f2a-469b-85c4-eec3b9c972ba" providerId="ADAL" clId="{363DE228-8D93-47E2-A1D5-6CB8C68569A9}" dt="2021-04-13T16:13:15.144" v="3630" actId="1035"/>
          <ac:spMkLst>
            <pc:docMk/>
            <pc:sldMk cId="1578197255" sldId="485"/>
            <ac:spMk id="2" creationId="{909DC09D-B9A6-4493-9A72-1CA7ECB1F5CA}"/>
          </ac:spMkLst>
        </pc:spChg>
      </pc:sldChg>
      <pc:sldChg chg="modSp add mod">
        <pc:chgData name="Thomas Stensitzki" userId="75cafe6b-2f2a-469b-85c4-eec3b9c972ba" providerId="ADAL" clId="{363DE228-8D93-47E2-A1D5-6CB8C68569A9}" dt="2021-04-13T16:13:29.521" v="3657" actId="1036"/>
        <pc:sldMkLst>
          <pc:docMk/>
          <pc:sldMk cId="129048746" sldId="486"/>
        </pc:sldMkLst>
        <pc:spChg chg="mod">
          <ac:chgData name="Thomas Stensitzki" userId="75cafe6b-2f2a-469b-85c4-eec3b9c972ba" providerId="ADAL" clId="{363DE228-8D93-47E2-A1D5-6CB8C68569A9}" dt="2021-04-13T16:13:29.521" v="3657" actId="1036"/>
          <ac:spMkLst>
            <pc:docMk/>
            <pc:sldMk cId="129048746" sldId="486"/>
            <ac:spMk id="2" creationId="{909DC09D-B9A6-4493-9A72-1CA7ECB1F5CA}"/>
          </ac:spMkLst>
        </pc:spChg>
      </pc:sldChg>
      <pc:sldChg chg="addSp delSp modSp add mod">
        <pc:chgData name="Thomas Stensitzki" userId="75cafe6b-2f2a-469b-85c4-eec3b9c972ba" providerId="ADAL" clId="{363DE228-8D93-47E2-A1D5-6CB8C68569A9}" dt="2021-04-13T16:14:03.456" v="3692"/>
        <pc:sldMkLst>
          <pc:docMk/>
          <pc:sldMk cId="3805749550" sldId="487"/>
        </pc:sldMkLst>
        <pc:spChg chg="mod">
          <ac:chgData name="Thomas Stensitzki" userId="75cafe6b-2f2a-469b-85c4-eec3b9c972ba" providerId="ADAL" clId="{363DE228-8D93-47E2-A1D5-6CB8C68569A9}" dt="2021-04-13T16:13:56.978" v="3690" actId="1035"/>
          <ac:spMkLst>
            <pc:docMk/>
            <pc:sldMk cId="3805749550" sldId="487"/>
            <ac:spMk id="2" creationId="{909DC09D-B9A6-4493-9A72-1CA7ECB1F5CA}"/>
          </ac:spMkLst>
        </pc:spChg>
        <pc:spChg chg="add del mod">
          <ac:chgData name="Thomas Stensitzki" userId="75cafe6b-2f2a-469b-85c4-eec3b9c972ba" providerId="ADAL" clId="{363DE228-8D93-47E2-A1D5-6CB8C68569A9}" dt="2021-04-13T16:14:03.456" v="3692"/>
          <ac:spMkLst>
            <pc:docMk/>
            <pc:sldMk cId="3805749550" sldId="487"/>
            <ac:spMk id="6" creationId="{2247C5DC-A300-4E24-8030-8875DEAEF50F}"/>
          </ac:spMkLst>
        </pc:spChg>
      </pc:sldChg>
      <pc:sldChg chg="modSp add mod">
        <pc:chgData name="Thomas Stensitzki" userId="75cafe6b-2f2a-469b-85c4-eec3b9c972ba" providerId="ADAL" clId="{363DE228-8D93-47E2-A1D5-6CB8C68569A9}" dt="2021-04-13T16:14:10.905" v="3714" actId="1036"/>
        <pc:sldMkLst>
          <pc:docMk/>
          <pc:sldMk cId="2133647224" sldId="488"/>
        </pc:sldMkLst>
        <pc:spChg chg="mod">
          <ac:chgData name="Thomas Stensitzki" userId="75cafe6b-2f2a-469b-85c4-eec3b9c972ba" providerId="ADAL" clId="{363DE228-8D93-47E2-A1D5-6CB8C68569A9}" dt="2021-04-13T16:14:10.905" v="3714" actId="1036"/>
          <ac:spMkLst>
            <pc:docMk/>
            <pc:sldMk cId="2133647224" sldId="488"/>
            <ac:spMk id="2" creationId="{909DC09D-B9A6-4493-9A72-1CA7ECB1F5CA}"/>
          </ac:spMkLst>
        </pc:spChg>
      </pc:sldChg>
      <pc:sldChg chg="modSp add mod ord modNotesTx">
        <pc:chgData name="Thomas Stensitzki" userId="75cafe6b-2f2a-469b-85c4-eec3b9c972ba" providerId="ADAL" clId="{363DE228-8D93-47E2-A1D5-6CB8C68569A9}" dt="2021-04-13T16:15:30.018" v="3780" actId="6549"/>
        <pc:sldMkLst>
          <pc:docMk/>
          <pc:sldMk cId="3106687663" sldId="489"/>
        </pc:sldMkLst>
        <pc:spChg chg="mod">
          <ac:chgData name="Thomas Stensitzki" userId="75cafe6b-2f2a-469b-85c4-eec3b9c972ba" providerId="ADAL" clId="{363DE228-8D93-47E2-A1D5-6CB8C68569A9}" dt="2021-04-13T16:14:58.216" v="3749" actId="1035"/>
          <ac:spMkLst>
            <pc:docMk/>
            <pc:sldMk cId="3106687663" sldId="489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363DE228-8D93-47E2-A1D5-6CB8C68569A9}" dt="2021-04-13T16:15:18.568" v="3779" actId="14100"/>
        <pc:sldMkLst>
          <pc:docMk/>
          <pc:sldMk cId="344419499" sldId="490"/>
        </pc:sldMkLst>
        <pc:spChg chg="mod">
          <ac:chgData name="Thomas Stensitzki" userId="75cafe6b-2f2a-469b-85c4-eec3b9c972ba" providerId="ADAL" clId="{363DE228-8D93-47E2-A1D5-6CB8C68569A9}" dt="2021-04-13T16:15:18.568" v="3779" actId="14100"/>
          <ac:spMkLst>
            <pc:docMk/>
            <pc:sldMk cId="344419499" sldId="490"/>
            <ac:spMk id="2" creationId="{909DC09D-B9A6-4493-9A72-1CA7ECB1F5CA}"/>
          </ac:spMkLst>
        </pc:spChg>
      </pc:sldChg>
      <pc:sldChg chg="addSp delSp modSp add mod">
        <pc:chgData name="Thomas Stensitzki" userId="75cafe6b-2f2a-469b-85c4-eec3b9c972ba" providerId="ADAL" clId="{363DE228-8D93-47E2-A1D5-6CB8C68569A9}" dt="2021-04-17T16:51:45.081" v="4048" actId="478"/>
        <pc:sldMkLst>
          <pc:docMk/>
          <pc:sldMk cId="3946489210" sldId="491"/>
        </pc:sldMkLst>
        <pc:spChg chg="del">
          <ac:chgData name="Thomas Stensitzki" userId="75cafe6b-2f2a-469b-85c4-eec3b9c972ba" providerId="ADAL" clId="{363DE228-8D93-47E2-A1D5-6CB8C68569A9}" dt="2021-04-17T16:46:29.580" v="3946" actId="478"/>
          <ac:spMkLst>
            <pc:docMk/>
            <pc:sldMk cId="3946489210" sldId="491"/>
            <ac:spMk id="2" creationId="{86A4A9C3-88F1-47B1-832C-DF14CF7A00CF}"/>
          </ac:spMkLst>
        </pc:spChg>
        <pc:spChg chg="del mod">
          <ac:chgData name="Thomas Stensitzki" userId="75cafe6b-2f2a-469b-85c4-eec3b9c972ba" providerId="ADAL" clId="{363DE228-8D93-47E2-A1D5-6CB8C68569A9}" dt="2021-04-17T16:51:30.714" v="4047" actId="478"/>
          <ac:spMkLst>
            <pc:docMk/>
            <pc:sldMk cId="3946489210" sldId="491"/>
            <ac:spMk id="3" creationId="{CBA95633-B02D-4A15-A8B1-A38E0A70FD27}"/>
          </ac:spMkLst>
        </pc:spChg>
        <pc:spChg chg="add del mod">
          <ac:chgData name="Thomas Stensitzki" userId="75cafe6b-2f2a-469b-85c4-eec3b9c972ba" providerId="ADAL" clId="{363DE228-8D93-47E2-A1D5-6CB8C68569A9}" dt="2021-04-17T16:46:31.691" v="3947" actId="478"/>
          <ac:spMkLst>
            <pc:docMk/>
            <pc:sldMk cId="3946489210" sldId="491"/>
            <ac:spMk id="5" creationId="{F1147857-D483-4933-9D90-2F212DBC4A97}"/>
          </ac:spMkLst>
        </pc:spChg>
        <pc:spChg chg="add mod">
          <ac:chgData name="Thomas Stensitzki" userId="75cafe6b-2f2a-469b-85c4-eec3b9c972ba" providerId="ADAL" clId="{363DE228-8D93-47E2-A1D5-6CB8C68569A9}" dt="2021-04-17T16:50:52.145" v="3997" actId="108"/>
          <ac:spMkLst>
            <pc:docMk/>
            <pc:sldMk cId="3946489210" sldId="491"/>
            <ac:spMk id="6" creationId="{EA252111-2DC5-4225-9C36-9E59262ACFF5}"/>
          </ac:spMkLst>
        </pc:spChg>
        <pc:spChg chg="add mod">
          <ac:chgData name="Thomas Stensitzki" userId="75cafe6b-2f2a-469b-85c4-eec3b9c972ba" providerId="ADAL" clId="{363DE228-8D93-47E2-A1D5-6CB8C68569A9}" dt="2021-04-17T16:51:22.710" v="4026" actId="1035"/>
          <ac:spMkLst>
            <pc:docMk/>
            <pc:sldMk cId="3946489210" sldId="491"/>
            <ac:spMk id="7" creationId="{A77062F2-E3B9-4230-9446-1FF51090FD82}"/>
          </ac:spMkLst>
        </pc:spChg>
        <pc:spChg chg="add mod">
          <ac:chgData name="Thomas Stensitzki" userId="75cafe6b-2f2a-469b-85c4-eec3b9c972ba" providerId="ADAL" clId="{363DE228-8D93-47E2-A1D5-6CB8C68569A9}" dt="2021-04-17T16:51:19.974" v="4021" actId="1036"/>
          <ac:spMkLst>
            <pc:docMk/>
            <pc:sldMk cId="3946489210" sldId="491"/>
            <ac:spMk id="8" creationId="{05EE9CC1-A2F7-4BDD-8234-105E3FEC49FE}"/>
          </ac:spMkLst>
        </pc:spChg>
        <pc:spChg chg="add mod">
          <ac:chgData name="Thomas Stensitzki" userId="75cafe6b-2f2a-469b-85c4-eec3b9c972ba" providerId="ADAL" clId="{363DE228-8D93-47E2-A1D5-6CB8C68569A9}" dt="2021-04-17T16:51:28.229" v="4046" actId="1035"/>
          <ac:spMkLst>
            <pc:docMk/>
            <pc:sldMk cId="3946489210" sldId="491"/>
            <ac:spMk id="9" creationId="{0EECB2FE-7B66-4F87-BA62-5FB00090E3B1}"/>
          </ac:spMkLst>
        </pc:spChg>
        <pc:spChg chg="add del mod">
          <ac:chgData name="Thomas Stensitzki" userId="75cafe6b-2f2a-469b-85c4-eec3b9c972ba" providerId="ADAL" clId="{363DE228-8D93-47E2-A1D5-6CB8C68569A9}" dt="2021-04-17T16:51:45.081" v="4048" actId="478"/>
          <ac:spMkLst>
            <pc:docMk/>
            <pc:sldMk cId="3946489210" sldId="491"/>
            <ac:spMk id="11" creationId="{01BF68C4-EF3E-4EC8-BB13-660FEC79E2B6}"/>
          </ac:spMkLst>
        </pc:spChg>
      </pc:sldChg>
    </pc:docChg>
  </pc:docChgLst>
  <pc:docChgLst>
    <pc:chgData name="Thomas Stensitzki" userId="75cafe6b-2f2a-469b-85c4-eec3b9c972ba" providerId="ADAL" clId="{6585694B-F83B-4578-8CAA-5F1AF6E51586}"/>
    <pc:docChg chg="undo custSel addSld delSld modSld delSection modSection">
      <pc:chgData name="Thomas Stensitzki" userId="75cafe6b-2f2a-469b-85c4-eec3b9c972ba" providerId="ADAL" clId="{6585694B-F83B-4578-8CAA-5F1AF6E51586}" dt="2022-12-08T15:47:06.396" v="281" actId="20577"/>
      <pc:docMkLst>
        <pc:docMk/>
      </pc:docMkLst>
      <pc:sldChg chg="modSp mod">
        <pc:chgData name="Thomas Stensitzki" userId="75cafe6b-2f2a-469b-85c4-eec3b9c972ba" providerId="ADAL" clId="{6585694B-F83B-4578-8CAA-5F1AF6E51586}" dt="2022-12-04T15:26:34.427" v="13" actId="20577"/>
        <pc:sldMkLst>
          <pc:docMk/>
          <pc:sldMk cId="671489701" sldId="256"/>
        </pc:sldMkLst>
        <pc:spChg chg="mod">
          <ac:chgData name="Thomas Stensitzki" userId="75cafe6b-2f2a-469b-85c4-eec3b9c972ba" providerId="ADAL" clId="{6585694B-F83B-4578-8CAA-5F1AF6E51586}" dt="2022-12-04T15:26:34.427" v="13" actId="20577"/>
          <ac:spMkLst>
            <pc:docMk/>
            <pc:sldMk cId="671489701" sldId="256"/>
            <ac:spMk id="3" creationId="{CBA95633-B02D-4A15-A8B1-A38E0A70FD27}"/>
          </ac:spMkLst>
        </pc:spChg>
      </pc:sldChg>
      <pc:sldChg chg="modSp mod">
        <pc:chgData name="Thomas Stensitzki" userId="75cafe6b-2f2a-469b-85c4-eec3b9c972ba" providerId="ADAL" clId="{6585694B-F83B-4578-8CAA-5F1AF6E51586}" dt="2022-12-08T15:46:46.270" v="275"/>
        <pc:sldMkLst>
          <pc:docMk/>
          <pc:sldMk cId="2855324227" sldId="257"/>
        </pc:sldMkLst>
        <pc:graphicFrameChg chg="mod modGraphic">
          <ac:chgData name="Thomas Stensitzki" userId="75cafe6b-2f2a-469b-85c4-eec3b9c972ba" providerId="ADAL" clId="{6585694B-F83B-4578-8CAA-5F1AF6E51586}" dt="2022-12-08T15:46:46.270" v="275"/>
          <ac:graphicFrameMkLst>
            <pc:docMk/>
            <pc:sldMk cId="2855324227" sldId="257"/>
            <ac:graphicFrameMk id="6" creationId="{0F955DCC-462D-431D-BBDE-26F10687D590}"/>
          </ac:graphicFrameMkLst>
        </pc:graphicFrameChg>
      </pc:sldChg>
      <pc:sldChg chg="modSp mod">
        <pc:chgData name="Thomas Stensitzki" userId="75cafe6b-2f2a-469b-85c4-eec3b9c972ba" providerId="ADAL" clId="{6585694B-F83B-4578-8CAA-5F1AF6E51586}" dt="2022-12-04T15:31:52.519" v="77" actId="20577"/>
        <pc:sldMkLst>
          <pc:docMk/>
          <pc:sldMk cId="3332792154" sldId="258"/>
        </pc:sldMkLst>
        <pc:spChg chg="mod">
          <ac:chgData name="Thomas Stensitzki" userId="75cafe6b-2f2a-469b-85c4-eec3b9c972ba" providerId="ADAL" clId="{6585694B-F83B-4578-8CAA-5F1AF6E51586}" dt="2022-12-04T15:31:52.519" v="77" actId="20577"/>
          <ac:spMkLst>
            <pc:docMk/>
            <pc:sldMk cId="3332792154" sldId="258"/>
            <ac:spMk id="3" creationId="{3A5A44EB-7FB9-473A-8ED3-C49DDD2E65AB}"/>
          </ac:spMkLst>
        </pc:spChg>
      </pc:sldChg>
      <pc:sldChg chg="modSp mod">
        <pc:chgData name="Thomas Stensitzki" userId="75cafe6b-2f2a-469b-85c4-eec3b9c972ba" providerId="ADAL" clId="{6585694B-F83B-4578-8CAA-5F1AF6E51586}" dt="2022-12-08T15:47:06.396" v="281" actId="20577"/>
        <pc:sldMkLst>
          <pc:docMk/>
          <pc:sldMk cId="2698998357" sldId="260"/>
        </pc:sldMkLst>
        <pc:spChg chg="mod">
          <ac:chgData name="Thomas Stensitzki" userId="75cafe6b-2f2a-469b-85c4-eec3b9c972ba" providerId="ADAL" clId="{6585694B-F83B-4578-8CAA-5F1AF6E51586}" dt="2022-12-04T15:27:42.196" v="37"/>
          <ac:spMkLst>
            <pc:docMk/>
            <pc:sldMk cId="2698998357" sldId="260"/>
            <ac:spMk id="4" creationId="{F3A15CBD-C746-44A3-A4F0-4898CE2F02E6}"/>
          </ac:spMkLst>
        </pc:spChg>
        <pc:spChg chg="mod">
          <ac:chgData name="Thomas Stensitzki" userId="75cafe6b-2f2a-469b-85c4-eec3b9c972ba" providerId="ADAL" clId="{6585694B-F83B-4578-8CAA-5F1AF6E51586}" dt="2022-12-08T15:47:06.396" v="281" actId="20577"/>
          <ac:spMkLst>
            <pc:docMk/>
            <pc:sldMk cId="2698998357" sldId="260"/>
            <ac:spMk id="5" creationId="{F3459BE7-1731-4733-A912-12977C68CFD6}"/>
          </ac:spMkLst>
        </pc:spChg>
      </pc:sldChg>
      <pc:sldChg chg="del">
        <pc:chgData name="Thomas Stensitzki" userId="75cafe6b-2f2a-469b-85c4-eec3b9c972ba" providerId="ADAL" clId="{6585694B-F83B-4578-8CAA-5F1AF6E51586}" dt="2022-12-08T14:14:53.910" v="92" actId="18676"/>
        <pc:sldMkLst>
          <pc:docMk/>
          <pc:sldMk cId="4007670073" sldId="268"/>
        </pc:sldMkLst>
      </pc:sldChg>
      <pc:sldChg chg="modSp mod">
        <pc:chgData name="Thomas Stensitzki" userId="75cafe6b-2f2a-469b-85c4-eec3b9c972ba" providerId="ADAL" clId="{6585694B-F83B-4578-8CAA-5F1AF6E51586}" dt="2022-12-08T15:39:39.165" v="263"/>
        <pc:sldMkLst>
          <pc:docMk/>
          <pc:sldMk cId="2721051844" sldId="269"/>
        </pc:sldMkLst>
        <pc:spChg chg="mod">
          <ac:chgData name="Thomas Stensitzki" userId="75cafe6b-2f2a-469b-85c4-eec3b9c972ba" providerId="ADAL" clId="{6585694B-F83B-4578-8CAA-5F1AF6E51586}" dt="2022-12-08T15:39:39.165" v="263"/>
          <ac:spMkLst>
            <pc:docMk/>
            <pc:sldMk cId="2721051844" sldId="269"/>
            <ac:spMk id="5" creationId="{C24DACB5-1BEC-4C86-9652-BAFD8DE56FEF}"/>
          </ac:spMkLst>
        </pc:spChg>
      </pc:sldChg>
      <pc:sldChg chg="del">
        <pc:chgData name="Thomas Stensitzki" userId="75cafe6b-2f2a-469b-85c4-eec3b9c972ba" providerId="ADAL" clId="{6585694B-F83B-4578-8CAA-5F1AF6E51586}" dt="2022-12-08T14:14:40.492" v="91" actId="47"/>
        <pc:sldMkLst>
          <pc:docMk/>
          <pc:sldMk cId="2227487991" sldId="378"/>
        </pc:sldMkLst>
      </pc:sldChg>
      <pc:sldChg chg="del">
        <pc:chgData name="Thomas Stensitzki" userId="75cafe6b-2f2a-469b-85c4-eec3b9c972ba" providerId="ADAL" clId="{6585694B-F83B-4578-8CAA-5F1AF6E51586}" dt="2022-12-08T14:14:37.960" v="90" actId="18676"/>
        <pc:sldMkLst>
          <pc:docMk/>
          <pc:sldMk cId="3797754622" sldId="515"/>
        </pc:sldMkLst>
      </pc:sldChg>
      <pc:sldChg chg="modSp mod">
        <pc:chgData name="Thomas Stensitzki" userId="75cafe6b-2f2a-469b-85c4-eec3b9c972ba" providerId="ADAL" clId="{6585694B-F83B-4578-8CAA-5F1AF6E51586}" dt="2022-12-08T15:17:12.315" v="217" actId="20577"/>
        <pc:sldMkLst>
          <pc:docMk/>
          <pc:sldMk cId="1728515471" sldId="561"/>
        </pc:sldMkLst>
        <pc:graphicFrameChg chg="mod modGraphic">
          <ac:chgData name="Thomas Stensitzki" userId="75cafe6b-2f2a-469b-85c4-eec3b9c972ba" providerId="ADAL" clId="{6585694B-F83B-4578-8CAA-5F1AF6E51586}" dt="2022-12-08T15:17:12.315" v="217" actId="20577"/>
          <ac:graphicFrameMkLst>
            <pc:docMk/>
            <pc:sldMk cId="1728515471" sldId="561"/>
            <ac:graphicFrameMk id="4" creationId="{55EDB790-67BC-42E5-B64A-5647620B8383}"/>
          </ac:graphicFrameMkLst>
        </pc:graphicFrameChg>
      </pc:sldChg>
      <pc:sldChg chg="del">
        <pc:chgData name="Thomas Stensitzki" userId="75cafe6b-2f2a-469b-85c4-eec3b9c972ba" providerId="ADAL" clId="{6585694B-F83B-4578-8CAA-5F1AF6E51586}" dt="2022-12-04T15:28:36.906" v="45" actId="47"/>
        <pc:sldMkLst>
          <pc:docMk/>
          <pc:sldMk cId="4104137776" sldId="567"/>
        </pc:sldMkLst>
      </pc:sldChg>
      <pc:sldChg chg="modSp mod modShow">
        <pc:chgData name="Thomas Stensitzki" userId="75cafe6b-2f2a-469b-85c4-eec3b9c972ba" providerId="ADAL" clId="{6585694B-F83B-4578-8CAA-5F1AF6E51586}" dt="2022-12-08T15:46:34.692" v="273" actId="20577"/>
        <pc:sldMkLst>
          <pc:docMk/>
          <pc:sldMk cId="1856989855" sldId="606"/>
        </pc:sldMkLst>
        <pc:spChg chg="mod">
          <ac:chgData name="Thomas Stensitzki" userId="75cafe6b-2f2a-469b-85c4-eec3b9c972ba" providerId="ADAL" clId="{6585694B-F83B-4578-8CAA-5F1AF6E51586}" dt="2022-12-08T15:46:34.692" v="273" actId="20577"/>
          <ac:spMkLst>
            <pc:docMk/>
            <pc:sldMk cId="1856989855" sldId="606"/>
            <ac:spMk id="4" creationId="{F3A15CBD-C746-44A3-A4F0-4898CE2F02E6}"/>
          </ac:spMkLst>
        </pc:spChg>
        <pc:spChg chg="mod">
          <ac:chgData name="Thomas Stensitzki" userId="75cafe6b-2f2a-469b-85c4-eec3b9c972ba" providerId="ADAL" clId="{6585694B-F83B-4578-8CAA-5F1AF6E51586}" dt="2022-12-08T14:15:16.013" v="147" actId="20577"/>
          <ac:spMkLst>
            <pc:docMk/>
            <pc:sldMk cId="1856989855" sldId="606"/>
            <ac:spMk id="5" creationId="{F3459BE7-1731-4733-A912-12977C68CFD6}"/>
          </ac:spMkLst>
        </pc:spChg>
      </pc:sldChg>
      <pc:sldChg chg="addSp delSp modSp new mod modClrScheme chgLayout">
        <pc:chgData name="Thomas Stensitzki" userId="75cafe6b-2f2a-469b-85c4-eec3b9c972ba" providerId="ADAL" clId="{6585694B-F83B-4578-8CAA-5F1AF6E51586}" dt="2022-12-08T15:46:40.606" v="274"/>
        <pc:sldMkLst>
          <pc:docMk/>
          <pc:sldMk cId="4003618409" sldId="608"/>
        </pc:sldMkLst>
        <pc:spChg chg="del mod ord">
          <ac:chgData name="Thomas Stensitzki" userId="75cafe6b-2f2a-469b-85c4-eec3b9c972ba" providerId="ADAL" clId="{6585694B-F83B-4578-8CAA-5F1AF6E51586}" dt="2022-12-08T14:15:36.611" v="149" actId="700"/>
          <ac:spMkLst>
            <pc:docMk/>
            <pc:sldMk cId="4003618409" sldId="608"/>
            <ac:spMk id="2" creationId="{9BBEA893-F22E-CEA0-BA14-AA7B7E5CCE96}"/>
          </ac:spMkLst>
        </pc:spChg>
        <pc:spChg chg="del mod ord">
          <ac:chgData name="Thomas Stensitzki" userId="75cafe6b-2f2a-469b-85c4-eec3b9c972ba" providerId="ADAL" clId="{6585694B-F83B-4578-8CAA-5F1AF6E51586}" dt="2022-12-08T14:15:36.611" v="149" actId="700"/>
          <ac:spMkLst>
            <pc:docMk/>
            <pc:sldMk cId="4003618409" sldId="608"/>
            <ac:spMk id="3" creationId="{BB49B110-0523-266E-7A61-C2801D7B7217}"/>
          </ac:spMkLst>
        </pc:spChg>
        <pc:spChg chg="add mod ord">
          <ac:chgData name="Thomas Stensitzki" userId="75cafe6b-2f2a-469b-85c4-eec3b9c972ba" providerId="ADAL" clId="{6585694B-F83B-4578-8CAA-5F1AF6E51586}" dt="2022-12-08T15:46:40.606" v="274"/>
          <ac:spMkLst>
            <pc:docMk/>
            <pc:sldMk cId="4003618409" sldId="608"/>
            <ac:spMk id="4" creationId="{C0B0B73D-CD73-C293-5EF2-4813AD511D2F}"/>
          </ac:spMkLst>
        </pc:spChg>
        <pc:spChg chg="add mod ord">
          <ac:chgData name="Thomas Stensitzki" userId="75cafe6b-2f2a-469b-85c4-eec3b9c972ba" providerId="ADAL" clId="{6585694B-F83B-4578-8CAA-5F1AF6E51586}" dt="2022-12-08T14:15:54.001" v="184"/>
          <ac:spMkLst>
            <pc:docMk/>
            <pc:sldMk cId="4003618409" sldId="608"/>
            <ac:spMk id="5" creationId="{3066861D-633E-76ED-199F-ABF1A0FFCA7C}"/>
          </ac:spMkLst>
        </pc:spChg>
      </pc:sldChg>
      <pc:sldChg chg="del">
        <pc:chgData name="Thomas Stensitzki" userId="75cafe6b-2f2a-469b-85c4-eec3b9c972ba" providerId="ADAL" clId="{6585694B-F83B-4578-8CAA-5F1AF6E51586}" dt="2022-12-04T15:28:22.207" v="42" actId="47"/>
        <pc:sldMkLst>
          <pc:docMk/>
          <pc:sldMk cId="1055936327" sldId="615"/>
        </pc:sldMkLst>
      </pc:sldChg>
      <pc:sldChg chg="del">
        <pc:chgData name="Thomas Stensitzki" userId="75cafe6b-2f2a-469b-85c4-eec3b9c972ba" providerId="ADAL" clId="{6585694B-F83B-4578-8CAA-5F1AF6E51586}" dt="2022-12-04T15:28:13.840" v="41" actId="47"/>
        <pc:sldMkLst>
          <pc:docMk/>
          <pc:sldMk cId="4105418081" sldId="616"/>
        </pc:sldMkLst>
      </pc:sldChg>
      <pc:sldChg chg="del">
        <pc:chgData name="Thomas Stensitzki" userId="75cafe6b-2f2a-469b-85c4-eec3b9c972ba" providerId="ADAL" clId="{6585694B-F83B-4578-8CAA-5F1AF6E51586}" dt="2022-12-04T15:28:08.275" v="40" actId="47"/>
        <pc:sldMkLst>
          <pc:docMk/>
          <pc:sldMk cId="2500841606" sldId="617"/>
        </pc:sldMkLst>
      </pc:sldChg>
      <pc:sldChg chg="del">
        <pc:chgData name="Thomas Stensitzki" userId="75cafe6b-2f2a-469b-85c4-eec3b9c972ba" providerId="ADAL" clId="{6585694B-F83B-4578-8CAA-5F1AF6E51586}" dt="2022-12-04T15:28:08.275" v="40" actId="47"/>
        <pc:sldMkLst>
          <pc:docMk/>
          <pc:sldMk cId="1322085727" sldId="618"/>
        </pc:sldMkLst>
      </pc:sldChg>
      <pc:sldChg chg="del">
        <pc:chgData name="Thomas Stensitzki" userId="75cafe6b-2f2a-469b-85c4-eec3b9c972ba" providerId="ADAL" clId="{6585694B-F83B-4578-8CAA-5F1AF6E51586}" dt="2022-12-04T15:28:08.275" v="40" actId="47"/>
        <pc:sldMkLst>
          <pc:docMk/>
          <pc:sldMk cId="198888969" sldId="619"/>
        </pc:sldMkLst>
      </pc:sldChg>
      <pc:sldChg chg="del">
        <pc:chgData name="Thomas Stensitzki" userId="75cafe6b-2f2a-469b-85c4-eec3b9c972ba" providerId="ADAL" clId="{6585694B-F83B-4578-8CAA-5F1AF6E51586}" dt="2022-12-04T15:28:08.275" v="40" actId="47"/>
        <pc:sldMkLst>
          <pc:docMk/>
          <pc:sldMk cId="3201512428" sldId="620"/>
        </pc:sldMkLst>
      </pc:sldChg>
      <pc:sldChg chg="del">
        <pc:chgData name="Thomas Stensitzki" userId="75cafe6b-2f2a-469b-85c4-eec3b9c972ba" providerId="ADAL" clId="{6585694B-F83B-4578-8CAA-5F1AF6E51586}" dt="2022-12-04T15:28:08.275" v="40" actId="47"/>
        <pc:sldMkLst>
          <pc:docMk/>
          <pc:sldMk cId="495201301" sldId="621"/>
        </pc:sldMkLst>
      </pc:sldChg>
      <pc:sldChg chg="del">
        <pc:chgData name="Thomas Stensitzki" userId="75cafe6b-2f2a-469b-85c4-eec3b9c972ba" providerId="ADAL" clId="{6585694B-F83B-4578-8CAA-5F1AF6E51586}" dt="2022-12-04T15:28:36.906" v="45" actId="47"/>
        <pc:sldMkLst>
          <pc:docMk/>
          <pc:sldMk cId="1216098891" sldId="622"/>
        </pc:sldMkLst>
      </pc:sldChg>
      <pc:sldChg chg="del">
        <pc:chgData name="Thomas Stensitzki" userId="75cafe6b-2f2a-469b-85c4-eec3b9c972ba" providerId="ADAL" clId="{6585694B-F83B-4578-8CAA-5F1AF6E51586}" dt="2022-12-04T15:28:36.906" v="45" actId="47"/>
        <pc:sldMkLst>
          <pc:docMk/>
          <pc:sldMk cId="1625578544" sldId="623"/>
        </pc:sldMkLst>
      </pc:sldChg>
      <pc:sldChg chg="del">
        <pc:chgData name="Thomas Stensitzki" userId="75cafe6b-2f2a-469b-85c4-eec3b9c972ba" providerId="ADAL" clId="{6585694B-F83B-4578-8CAA-5F1AF6E51586}" dt="2022-12-04T15:28:36.906" v="45" actId="47"/>
        <pc:sldMkLst>
          <pc:docMk/>
          <pc:sldMk cId="3928386235" sldId="624"/>
        </pc:sldMkLst>
      </pc:sldChg>
      <pc:sldChg chg="del">
        <pc:chgData name="Thomas Stensitzki" userId="75cafe6b-2f2a-469b-85c4-eec3b9c972ba" providerId="ADAL" clId="{6585694B-F83B-4578-8CAA-5F1AF6E51586}" dt="2022-12-04T15:28:22.207" v="42" actId="47"/>
        <pc:sldMkLst>
          <pc:docMk/>
          <pc:sldMk cId="2431608557" sldId="625"/>
        </pc:sldMkLst>
      </pc:sldChg>
      <pc:sldChg chg="del">
        <pc:chgData name="Thomas Stensitzki" userId="75cafe6b-2f2a-469b-85c4-eec3b9c972ba" providerId="ADAL" clId="{6585694B-F83B-4578-8CAA-5F1AF6E51586}" dt="2022-12-04T15:28:36.906" v="45" actId="47"/>
        <pc:sldMkLst>
          <pc:docMk/>
          <pc:sldMk cId="1333001301" sldId="626"/>
        </pc:sldMkLst>
      </pc:sldChg>
      <pc:sldChg chg="del">
        <pc:chgData name="Thomas Stensitzki" userId="75cafe6b-2f2a-469b-85c4-eec3b9c972ba" providerId="ADAL" clId="{6585694B-F83B-4578-8CAA-5F1AF6E51586}" dt="2022-12-04T15:28:22.207" v="42" actId="47"/>
        <pc:sldMkLst>
          <pc:docMk/>
          <pc:sldMk cId="2864403089" sldId="627"/>
        </pc:sldMkLst>
      </pc:sldChg>
      <pc:sldChg chg="del">
        <pc:chgData name="Thomas Stensitzki" userId="75cafe6b-2f2a-469b-85c4-eec3b9c972ba" providerId="ADAL" clId="{6585694B-F83B-4578-8CAA-5F1AF6E51586}" dt="2022-12-04T15:28:41.975" v="46" actId="47"/>
        <pc:sldMkLst>
          <pc:docMk/>
          <pc:sldMk cId="2624383707" sldId="628"/>
        </pc:sldMkLst>
      </pc:sldChg>
      <pc:sldChg chg="del">
        <pc:chgData name="Thomas Stensitzki" userId="75cafe6b-2f2a-469b-85c4-eec3b9c972ba" providerId="ADAL" clId="{6585694B-F83B-4578-8CAA-5F1AF6E51586}" dt="2022-12-04T15:28:22.207" v="42" actId="47"/>
        <pc:sldMkLst>
          <pc:docMk/>
          <pc:sldMk cId="182847428" sldId="629"/>
        </pc:sldMkLst>
      </pc:sldChg>
      <pc:sldChg chg="del">
        <pc:chgData name="Thomas Stensitzki" userId="75cafe6b-2f2a-469b-85c4-eec3b9c972ba" providerId="ADAL" clId="{6585694B-F83B-4578-8CAA-5F1AF6E51586}" dt="2022-12-04T15:28:22.207" v="42" actId="47"/>
        <pc:sldMkLst>
          <pc:docMk/>
          <pc:sldMk cId="1125589417" sldId="630"/>
        </pc:sldMkLst>
      </pc:sldChg>
      <pc:sldChg chg="del">
        <pc:chgData name="Thomas Stensitzki" userId="75cafe6b-2f2a-469b-85c4-eec3b9c972ba" providerId="ADAL" clId="{6585694B-F83B-4578-8CAA-5F1AF6E51586}" dt="2022-12-04T15:28:22.207" v="42" actId="47"/>
        <pc:sldMkLst>
          <pc:docMk/>
          <pc:sldMk cId="1294991851" sldId="631"/>
        </pc:sldMkLst>
      </pc:sldChg>
      <pc:sldChg chg="del">
        <pc:chgData name="Thomas Stensitzki" userId="75cafe6b-2f2a-469b-85c4-eec3b9c972ba" providerId="ADAL" clId="{6585694B-F83B-4578-8CAA-5F1AF6E51586}" dt="2022-12-04T15:28:41.975" v="46" actId="47"/>
        <pc:sldMkLst>
          <pc:docMk/>
          <pc:sldMk cId="74767398" sldId="632"/>
        </pc:sldMkLst>
      </pc:sldChg>
      <pc:sldChg chg="del">
        <pc:chgData name="Thomas Stensitzki" userId="75cafe6b-2f2a-469b-85c4-eec3b9c972ba" providerId="ADAL" clId="{6585694B-F83B-4578-8CAA-5F1AF6E51586}" dt="2022-12-04T15:28:41.975" v="46" actId="47"/>
        <pc:sldMkLst>
          <pc:docMk/>
          <pc:sldMk cId="222009446" sldId="633"/>
        </pc:sldMkLst>
      </pc:sldChg>
      <pc:sldChg chg="del">
        <pc:chgData name="Thomas Stensitzki" userId="75cafe6b-2f2a-469b-85c4-eec3b9c972ba" providerId="ADAL" clId="{6585694B-F83B-4578-8CAA-5F1AF6E51586}" dt="2022-12-04T15:28:29.850" v="43" actId="47"/>
        <pc:sldMkLst>
          <pc:docMk/>
          <pc:sldMk cId="641717594" sldId="634"/>
        </pc:sldMkLst>
      </pc:sldChg>
      <pc:sldChg chg="del">
        <pc:chgData name="Thomas Stensitzki" userId="75cafe6b-2f2a-469b-85c4-eec3b9c972ba" providerId="ADAL" clId="{6585694B-F83B-4578-8CAA-5F1AF6E51586}" dt="2022-12-04T15:28:51.336" v="47" actId="47"/>
        <pc:sldMkLst>
          <pc:docMk/>
          <pc:sldMk cId="1631157761" sldId="635"/>
        </pc:sldMkLst>
      </pc:sldChg>
      <pc:sldChg chg="del">
        <pc:chgData name="Thomas Stensitzki" userId="75cafe6b-2f2a-469b-85c4-eec3b9c972ba" providerId="ADAL" clId="{6585694B-F83B-4578-8CAA-5F1AF6E51586}" dt="2022-12-04T15:28:51.336" v="47" actId="47"/>
        <pc:sldMkLst>
          <pc:docMk/>
          <pc:sldMk cId="2329644470" sldId="636"/>
        </pc:sldMkLst>
      </pc:sldChg>
      <pc:sldChg chg="del">
        <pc:chgData name="Thomas Stensitzki" userId="75cafe6b-2f2a-469b-85c4-eec3b9c972ba" providerId="ADAL" clId="{6585694B-F83B-4578-8CAA-5F1AF6E51586}" dt="2022-12-04T15:28:29.850" v="43" actId="47"/>
        <pc:sldMkLst>
          <pc:docMk/>
          <pc:sldMk cId="3684390708" sldId="637"/>
        </pc:sldMkLst>
      </pc:sldChg>
      <pc:sldChg chg="del">
        <pc:chgData name="Thomas Stensitzki" userId="75cafe6b-2f2a-469b-85c4-eec3b9c972ba" providerId="ADAL" clId="{6585694B-F83B-4578-8CAA-5F1AF6E51586}" dt="2022-12-04T15:28:29.850" v="43" actId="47"/>
        <pc:sldMkLst>
          <pc:docMk/>
          <pc:sldMk cId="3230378298" sldId="638"/>
        </pc:sldMkLst>
      </pc:sldChg>
      <pc:sldChg chg="del">
        <pc:chgData name="Thomas Stensitzki" userId="75cafe6b-2f2a-469b-85c4-eec3b9c972ba" providerId="ADAL" clId="{6585694B-F83B-4578-8CAA-5F1AF6E51586}" dt="2022-12-04T15:28:51.336" v="47" actId="47"/>
        <pc:sldMkLst>
          <pc:docMk/>
          <pc:sldMk cId="3465019233" sldId="639"/>
        </pc:sldMkLst>
      </pc:sldChg>
      <pc:sldChg chg="del">
        <pc:chgData name="Thomas Stensitzki" userId="75cafe6b-2f2a-469b-85c4-eec3b9c972ba" providerId="ADAL" clId="{6585694B-F83B-4578-8CAA-5F1AF6E51586}" dt="2022-12-04T15:28:51.336" v="47" actId="47"/>
        <pc:sldMkLst>
          <pc:docMk/>
          <pc:sldMk cId="3773795940" sldId="640"/>
        </pc:sldMkLst>
      </pc:sldChg>
      <pc:sldChg chg="del">
        <pc:chgData name="Thomas Stensitzki" userId="75cafe6b-2f2a-469b-85c4-eec3b9c972ba" providerId="ADAL" clId="{6585694B-F83B-4578-8CAA-5F1AF6E51586}" dt="2022-12-04T15:28:51.336" v="47" actId="47"/>
        <pc:sldMkLst>
          <pc:docMk/>
          <pc:sldMk cId="2087933606" sldId="641"/>
        </pc:sldMkLst>
      </pc:sldChg>
      <pc:sldChg chg="del">
        <pc:chgData name="Thomas Stensitzki" userId="75cafe6b-2f2a-469b-85c4-eec3b9c972ba" providerId="ADAL" clId="{6585694B-F83B-4578-8CAA-5F1AF6E51586}" dt="2022-12-04T15:28:29.850" v="43" actId="47"/>
        <pc:sldMkLst>
          <pc:docMk/>
          <pc:sldMk cId="1502932586" sldId="642"/>
        </pc:sldMkLst>
      </pc:sldChg>
      <pc:sldChg chg="del">
        <pc:chgData name="Thomas Stensitzki" userId="75cafe6b-2f2a-469b-85c4-eec3b9c972ba" providerId="ADAL" clId="{6585694B-F83B-4578-8CAA-5F1AF6E51586}" dt="2022-12-04T15:28:29.850" v="43" actId="47"/>
        <pc:sldMkLst>
          <pc:docMk/>
          <pc:sldMk cId="2913103850" sldId="643"/>
        </pc:sldMkLst>
      </pc:sldChg>
      <pc:sldChg chg="del">
        <pc:chgData name="Thomas Stensitzki" userId="75cafe6b-2f2a-469b-85c4-eec3b9c972ba" providerId="ADAL" clId="{6585694B-F83B-4578-8CAA-5F1AF6E51586}" dt="2022-12-04T15:28:29.850" v="43" actId="47"/>
        <pc:sldMkLst>
          <pc:docMk/>
          <pc:sldMk cId="942581030" sldId="644"/>
        </pc:sldMkLst>
      </pc:sldChg>
      <pc:sldChg chg="del">
        <pc:chgData name="Thomas Stensitzki" userId="75cafe6b-2f2a-469b-85c4-eec3b9c972ba" providerId="ADAL" clId="{6585694B-F83B-4578-8CAA-5F1AF6E51586}" dt="2022-12-04T15:28:33.471" v="44" actId="47"/>
        <pc:sldMkLst>
          <pc:docMk/>
          <pc:sldMk cId="2729172580" sldId="645"/>
        </pc:sldMkLst>
      </pc:sldChg>
      <pc:sldChg chg="del">
        <pc:chgData name="Thomas Stensitzki" userId="75cafe6b-2f2a-469b-85c4-eec3b9c972ba" providerId="ADAL" clId="{6585694B-F83B-4578-8CAA-5F1AF6E51586}" dt="2022-12-04T15:28:33.471" v="44" actId="47"/>
        <pc:sldMkLst>
          <pc:docMk/>
          <pc:sldMk cId="295227728" sldId="646"/>
        </pc:sldMkLst>
      </pc:sldChg>
      <pc:sldChg chg="del">
        <pc:chgData name="Thomas Stensitzki" userId="75cafe6b-2f2a-469b-85c4-eec3b9c972ba" providerId="ADAL" clId="{6585694B-F83B-4578-8CAA-5F1AF6E51586}" dt="2022-12-04T15:28:13.840" v="41" actId="47"/>
        <pc:sldMkLst>
          <pc:docMk/>
          <pc:sldMk cId="3764594880" sldId="647"/>
        </pc:sldMkLst>
      </pc:sldChg>
      <pc:sldChg chg="del">
        <pc:chgData name="Thomas Stensitzki" userId="75cafe6b-2f2a-469b-85c4-eec3b9c972ba" providerId="ADAL" clId="{6585694B-F83B-4578-8CAA-5F1AF6E51586}" dt="2022-12-04T15:28:22.207" v="42" actId="47"/>
        <pc:sldMkLst>
          <pc:docMk/>
          <pc:sldMk cId="1091040638" sldId="648"/>
        </pc:sldMkLst>
      </pc:sldChg>
      <pc:sldChg chg="del">
        <pc:chgData name="Thomas Stensitzki" userId="75cafe6b-2f2a-469b-85c4-eec3b9c972ba" providerId="ADAL" clId="{6585694B-F83B-4578-8CAA-5F1AF6E51586}" dt="2022-12-04T15:28:22.207" v="42" actId="47"/>
        <pc:sldMkLst>
          <pc:docMk/>
          <pc:sldMk cId="2369649432" sldId="649"/>
        </pc:sldMkLst>
      </pc:sldChg>
      <pc:sldChg chg="del">
        <pc:chgData name="Thomas Stensitzki" userId="75cafe6b-2f2a-469b-85c4-eec3b9c972ba" providerId="ADAL" clId="{6585694B-F83B-4578-8CAA-5F1AF6E51586}" dt="2022-12-04T15:28:22.207" v="42" actId="47"/>
        <pc:sldMkLst>
          <pc:docMk/>
          <pc:sldMk cId="4292684490" sldId="650"/>
        </pc:sldMkLst>
      </pc:sldChg>
      <pc:sldChg chg="del">
        <pc:chgData name="Thomas Stensitzki" userId="75cafe6b-2f2a-469b-85c4-eec3b9c972ba" providerId="ADAL" clId="{6585694B-F83B-4578-8CAA-5F1AF6E51586}" dt="2022-12-04T15:28:22.207" v="42" actId="47"/>
        <pc:sldMkLst>
          <pc:docMk/>
          <pc:sldMk cId="324892990" sldId="651"/>
        </pc:sldMkLst>
      </pc:sldChg>
      <pc:sldChg chg="del">
        <pc:chgData name="Thomas Stensitzki" userId="75cafe6b-2f2a-469b-85c4-eec3b9c972ba" providerId="ADAL" clId="{6585694B-F83B-4578-8CAA-5F1AF6E51586}" dt="2022-12-04T15:28:22.207" v="42" actId="47"/>
        <pc:sldMkLst>
          <pc:docMk/>
          <pc:sldMk cId="2700638492" sldId="652"/>
        </pc:sldMkLst>
      </pc:sldChg>
      <pc:sldChg chg="del">
        <pc:chgData name="Thomas Stensitzki" userId="75cafe6b-2f2a-469b-85c4-eec3b9c972ba" providerId="ADAL" clId="{6585694B-F83B-4578-8CAA-5F1AF6E51586}" dt="2022-12-04T15:28:29.850" v="43" actId="47"/>
        <pc:sldMkLst>
          <pc:docMk/>
          <pc:sldMk cId="1379297492" sldId="653"/>
        </pc:sldMkLst>
      </pc:sldChg>
      <pc:sldChg chg="del">
        <pc:chgData name="Thomas Stensitzki" userId="75cafe6b-2f2a-469b-85c4-eec3b9c972ba" providerId="ADAL" clId="{6585694B-F83B-4578-8CAA-5F1AF6E51586}" dt="2022-12-04T15:28:22.207" v="42" actId="47"/>
        <pc:sldMkLst>
          <pc:docMk/>
          <pc:sldMk cId="20870858" sldId="654"/>
        </pc:sldMkLst>
      </pc:sldChg>
      <pc:sldChg chg="del">
        <pc:chgData name="Thomas Stensitzki" userId="75cafe6b-2f2a-469b-85c4-eec3b9c972ba" providerId="ADAL" clId="{6585694B-F83B-4578-8CAA-5F1AF6E51586}" dt="2022-12-04T15:28:29.850" v="43" actId="47"/>
        <pc:sldMkLst>
          <pc:docMk/>
          <pc:sldMk cId="4081057211" sldId="655"/>
        </pc:sldMkLst>
      </pc:sldChg>
      <pc:sldChg chg="del">
        <pc:chgData name="Thomas Stensitzki" userId="75cafe6b-2f2a-469b-85c4-eec3b9c972ba" providerId="ADAL" clId="{6585694B-F83B-4578-8CAA-5F1AF6E51586}" dt="2022-12-04T15:28:29.850" v="43" actId="47"/>
        <pc:sldMkLst>
          <pc:docMk/>
          <pc:sldMk cId="2870420379" sldId="656"/>
        </pc:sldMkLst>
      </pc:sldChg>
      <pc:sldChg chg="del">
        <pc:chgData name="Thomas Stensitzki" userId="75cafe6b-2f2a-469b-85c4-eec3b9c972ba" providerId="ADAL" clId="{6585694B-F83B-4578-8CAA-5F1AF6E51586}" dt="2022-12-04T15:28:29.850" v="43" actId="47"/>
        <pc:sldMkLst>
          <pc:docMk/>
          <pc:sldMk cId="1841510030" sldId="657"/>
        </pc:sldMkLst>
      </pc:sldChg>
      <pc:sldChg chg="del">
        <pc:chgData name="Thomas Stensitzki" userId="75cafe6b-2f2a-469b-85c4-eec3b9c972ba" providerId="ADAL" clId="{6585694B-F83B-4578-8CAA-5F1AF6E51586}" dt="2022-12-04T15:28:33.471" v="44" actId="47"/>
        <pc:sldMkLst>
          <pc:docMk/>
          <pc:sldMk cId="3337092959" sldId="658"/>
        </pc:sldMkLst>
      </pc:sldChg>
      <pc:sldChg chg="del">
        <pc:chgData name="Thomas Stensitzki" userId="75cafe6b-2f2a-469b-85c4-eec3b9c972ba" providerId="ADAL" clId="{6585694B-F83B-4578-8CAA-5F1AF6E51586}" dt="2022-12-08T14:14:37.960" v="90" actId="18676"/>
        <pc:sldMkLst>
          <pc:docMk/>
          <pc:sldMk cId="1962477249" sldId="659"/>
        </pc:sldMkLst>
      </pc:sldChg>
      <pc:sldChg chg="del">
        <pc:chgData name="Thomas Stensitzki" userId="75cafe6b-2f2a-469b-85c4-eec3b9c972ba" providerId="ADAL" clId="{6585694B-F83B-4578-8CAA-5F1AF6E51586}" dt="2022-12-04T15:28:36.906" v="45" actId="47"/>
        <pc:sldMkLst>
          <pc:docMk/>
          <pc:sldMk cId="1061161082" sldId="660"/>
        </pc:sldMkLst>
      </pc:sldChg>
      <pc:sldChg chg="del">
        <pc:chgData name="Thomas Stensitzki" userId="75cafe6b-2f2a-469b-85c4-eec3b9c972ba" providerId="ADAL" clId="{6585694B-F83B-4578-8CAA-5F1AF6E51586}" dt="2022-12-04T15:28:41.975" v="46" actId="47"/>
        <pc:sldMkLst>
          <pc:docMk/>
          <pc:sldMk cId="2497496185" sldId="661"/>
        </pc:sldMkLst>
      </pc:sldChg>
      <pc:sldChg chg="del">
        <pc:chgData name="Thomas Stensitzki" userId="75cafe6b-2f2a-469b-85c4-eec3b9c972ba" providerId="ADAL" clId="{6585694B-F83B-4578-8CAA-5F1AF6E51586}" dt="2022-12-04T15:28:41.975" v="46" actId="47"/>
        <pc:sldMkLst>
          <pc:docMk/>
          <pc:sldMk cId="301037216" sldId="662"/>
        </pc:sldMkLst>
      </pc:sldChg>
      <pc:sldChg chg="del">
        <pc:chgData name="Thomas Stensitzki" userId="75cafe6b-2f2a-469b-85c4-eec3b9c972ba" providerId="ADAL" clId="{6585694B-F83B-4578-8CAA-5F1AF6E51586}" dt="2022-12-04T15:28:41.975" v="46" actId="47"/>
        <pc:sldMkLst>
          <pc:docMk/>
          <pc:sldMk cId="815879234" sldId="663"/>
        </pc:sldMkLst>
      </pc:sldChg>
      <pc:sldChg chg="del">
        <pc:chgData name="Thomas Stensitzki" userId="75cafe6b-2f2a-469b-85c4-eec3b9c972ba" providerId="ADAL" clId="{6585694B-F83B-4578-8CAA-5F1AF6E51586}" dt="2022-12-04T15:28:41.975" v="46" actId="47"/>
        <pc:sldMkLst>
          <pc:docMk/>
          <pc:sldMk cId="3506364790" sldId="664"/>
        </pc:sldMkLst>
      </pc:sldChg>
    </pc:docChg>
  </pc:docChgLst>
  <pc:docChgLst>
    <pc:chgData name="Thomas Stensitzki" userId="75cafe6b-2f2a-469b-85c4-eec3b9c972ba" providerId="ADAL" clId="{84A5A1CF-D4D8-4DEE-82E8-21007BEBD9EB}"/>
    <pc:docChg chg="undo custSel addSld delSld modSld sldOrd modSection">
      <pc:chgData name="Thomas Stensitzki" userId="75cafe6b-2f2a-469b-85c4-eec3b9c972ba" providerId="ADAL" clId="{84A5A1CF-D4D8-4DEE-82E8-21007BEBD9EB}" dt="2021-12-02T16:26:37.639" v="2824" actId="20577"/>
      <pc:docMkLst>
        <pc:docMk/>
      </pc:docMkLst>
      <pc:sldChg chg="modSp mod modTransition">
        <pc:chgData name="Thomas Stensitzki" userId="75cafe6b-2f2a-469b-85c4-eec3b9c972ba" providerId="ADAL" clId="{84A5A1CF-D4D8-4DEE-82E8-21007BEBD9EB}" dt="2021-11-27T14:22:00.443" v="2304"/>
        <pc:sldMkLst>
          <pc:docMk/>
          <pc:sldMk cId="671489701" sldId="256"/>
        </pc:sldMkLst>
        <pc:spChg chg="mod">
          <ac:chgData name="Thomas Stensitzki" userId="75cafe6b-2f2a-469b-85c4-eec3b9c972ba" providerId="ADAL" clId="{84A5A1CF-D4D8-4DEE-82E8-21007BEBD9EB}" dt="2021-11-27T11:48:08.697" v="30" actId="6549"/>
          <ac:spMkLst>
            <pc:docMk/>
            <pc:sldMk cId="671489701" sldId="256"/>
            <ac:spMk id="3" creationId="{CBA95633-B02D-4A15-A8B1-A38E0A70FD27}"/>
          </ac:spMkLst>
        </pc:spChg>
      </pc:sldChg>
      <pc:sldChg chg="modSp mod modTransition">
        <pc:chgData name="Thomas Stensitzki" userId="75cafe6b-2f2a-469b-85c4-eec3b9c972ba" providerId="ADAL" clId="{84A5A1CF-D4D8-4DEE-82E8-21007BEBD9EB}" dt="2021-11-27T14:22:00.443" v="2304"/>
        <pc:sldMkLst>
          <pc:docMk/>
          <pc:sldMk cId="2855324227" sldId="257"/>
        </pc:sldMkLst>
        <pc:spChg chg="mod">
          <ac:chgData name="Thomas Stensitzki" userId="75cafe6b-2f2a-469b-85c4-eec3b9c972ba" providerId="ADAL" clId="{84A5A1CF-D4D8-4DEE-82E8-21007BEBD9EB}" dt="2021-11-27T11:51:06.044" v="94" actId="114"/>
          <ac:spMkLst>
            <pc:docMk/>
            <pc:sldMk cId="2855324227" sldId="257"/>
            <ac:spMk id="5" creationId="{EE6719E1-4DB6-4D58-BA77-937CF975247C}"/>
          </ac:spMkLst>
        </pc:spChg>
        <pc:graphicFrameChg chg="mod modGraphic">
          <ac:chgData name="Thomas Stensitzki" userId="75cafe6b-2f2a-469b-85c4-eec3b9c972ba" providerId="ADAL" clId="{84A5A1CF-D4D8-4DEE-82E8-21007BEBD9EB}" dt="2021-11-27T11:51:48.069" v="97" actId="14734"/>
          <ac:graphicFrameMkLst>
            <pc:docMk/>
            <pc:sldMk cId="2855324227" sldId="257"/>
            <ac:graphicFrameMk id="6" creationId="{0F955DCC-462D-431D-BBDE-26F10687D590}"/>
          </ac:graphicFrameMkLst>
        </pc:graphicFrameChg>
      </pc:sldChg>
      <pc:sldChg chg="modSp mod modTransition">
        <pc:chgData name="Thomas Stensitzki" userId="75cafe6b-2f2a-469b-85c4-eec3b9c972ba" providerId="ADAL" clId="{84A5A1CF-D4D8-4DEE-82E8-21007BEBD9EB}" dt="2021-11-27T14:22:00.443" v="2304"/>
        <pc:sldMkLst>
          <pc:docMk/>
          <pc:sldMk cId="3332792154" sldId="258"/>
        </pc:sldMkLst>
        <pc:spChg chg="mod">
          <ac:chgData name="Thomas Stensitzki" userId="75cafe6b-2f2a-469b-85c4-eec3b9c972ba" providerId="ADAL" clId="{84A5A1CF-D4D8-4DEE-82E8-21007BEBD9EB}" dt="2021-11-27T11:59:40.198" v="203" actId="6549"/>
          <ac:spMkLst>
            <pc:docMk/>
            <pc:sldMk cId="3332792154" sldId="258"/>
            <ac:spMk id="3" creationId="{3A5A44EB-7FB9-473A-8ED3-C49DDD2E65AB}"/>
          </ac:spMkLst>
        </pc:spChg>
      </pc:sldChg>
      <pc:sldChg chg="modTransition">
        <pc:chgData name="Thomas Stensitzki" userId="75cafe6b-2f2a-469b-85c4-eec3b9c972ba" providerId="ADAL" clId="{84A5A1CF-D4D8-4DEE-82E8-21007BEBD9EB}" dt="2021-11-27T14:22:00.443" v="2304"/>
        <pc:sldMkLst>
          <pc:docMk/>
          <pc:sldMk cId="1545829058" sldId="259"/>
        </pc:sldMkLst>
      </pc:sldChg>
      <pc:sldChg chg="modSp mod modTransition">
        <pc:chgData name="Thomas Stensitzki" userId="75cafe6b-2f2a-469b-85c4-eec3b9c972ba" providerId="ADAL" clId="{84A5A1CF-D4D8-4DEE-82E8-21007BEBD9EB}" dt="2021-11-27T14:22:00.443" v="2304"/>
        <pc:sldMkLst>
          <pc:docMk/>
          <pc:sldMk cId="2698998357" sldId="260"/>
        </pc:sldMkLst>
        <pc:spChg chg="mod">
          <ac:chgData name="Thomas Stensitzki" userId="75cafe6b-2f2a-469b-85c4-eec3b9c972ba" providerId="ADAL" clId="{84A5A1CF-D4D8-4DEE-82E8-21007BEBD9EB}" dt="2021-11-27T11:50:40.722" v="86"/>
          <ac:spMkLst>
            <pc:docMk/>
            <pc:sldMk cId="2698998357" sldId="260"/>
            <ac:spMk id="4" creationId="{F3A15CBD-C746-44A3-A4F0-4898CE2F02E6}"/>
          </ac:spMkLst>
        </pc:spChg>
        <pc:spChg chg="mod">
          <ac:chgData name="Thomas Stensitzki" userId="75cafe6b-2f2a-469b-85c4-eec3b9c972ba" providerId="ADAL" clId="{84A5A1CF-D4D8-4DEE-82E8-21007BEBD9EB}" dt="2021-11-27T11:50:58.944" v="93" actId="20577"/>
          <ac:spMkLst>
            <pc:docMk/>
            <pc:sldMk cId="2698998357" sldId="260"/>
            <ac:spMk id="5" creationId="{F3459BE7-1731-4733-A912-12977C68CFD6}"/>
          </ac:spMkLst>
        </pc:spChg>
      </pc:sldChg>
      <pc:sldChg chg="modSp mod modTransition">
        <pc:chgData name="Thomas Stensitzki" userId="75cafe6b-2f2a-469b-85c4-eec3b9c972ba" providerId="ADAL" clId="{84A5A1CF-D4D8-4DEE-82E8-21007BEBD9EB}" dt="2021-11-27T14:22:00.443" v="2304"/>
        <pc:sldMkLst>
          <pc:docMk/>
          <pc:sldMk cId="4007670073" sldId="268"/>
        </pc:sldMkLst>
        <pc:spChg chg="mod">
          <ac:chgData name="Thomas Stensitzki" userId="75cafe6b-2f2a-469b-85c4-eec3b9c972ba" providerId="ADAL" clId="{84A5A1CF-D4D8-4DEE-82E8-21007BEBD9EB}" dt="2021-11-27T14:16:15.267" v="1968" actId="6549"/>
          <ac:spMkLst>
            <pc:docMk/>
            <pc:sldMk cId="4007670073" sldId="268"/>
            <ac:spMk id="5" creationId="{F3459BE7-1731-4733-A912-12977C68CFD6}"/>
          </ac:spMkLst>
        </pc:spChg>
      </pc:sldChg>
      <pc:sldChg chg="modSp mod modTransition">
        <pc:chgData name="Thomas Stensitzki" userId="75cafe6b-2f2a-469b-85c4-eec3b9c972ba" providerId="ADAL" clId="{84A5A1CF-D4D8-4DEE-82E8-21007BEBD9EB}" dt="2021-11-27T14:27:08.337" v="2662" actId="20577"/>
        <pc:sldMkLst>
          <pc:docMk/>
          <pc:sldMk cId="2721051844" sldId="269"/>
        </pc:sldMkLst>
        <pc:spChg chg="mod">
          <ac:chgData name="Thomas Stensitzki" userId="75cafe6b-2f2a-469b-85c4-eec3b9c972ba" providerId="ADAL" clId="{84A5A1CF-D4D8-4DEE-82E8-21007BEBD9EB}" dt="2021-11-27T14:27:08.337" v="2662" actId="20577"/>
          <ac:spMkLst>
            <pc:docMk/>
            <pc:sldMk cId="2721051844" sldId="269"/>
            <ac:spMk id="5" creationId="{C24DACB5-1BEC-4C86-9652-BAFD8DE56FEF}"/>
          </ac:spMkLst>
        </pc:spChg>
      </pc:sldChg>
      <pc:sldChg chg="modTransition">
        <pc:chgData name="Thomas Stensitzki" userId="75cafe6b-2f2a-469b-85c4-eec3b9c972ba" providerId="ADAL" clId="{84A5A1CF-D4D8-4DEE-82E8-21007BEBD9EB}" dt="2021-11-27T14:22:00.443" v="2304"/>
        <pc:sldMkLst>
          <pc:docMk/>
          <pc:sldMk cId="1928334901" sldId="295"/>
        </pc:sldMkLst>
      </pc:sldChg>
      <pc:sldChg chg="modTransition">
        <pc:chgData name="Thomas Stensitzki" userId="75cafe6b-2f2a-469b-85c4-eec3b9c972ba" providerId="ADAL" clId="{84A5A1CF-D4D8-4DEE-82E8-21007BEBD9EB}" dt="2021-11-27T14:22:00.443" v="2304"/>
        <pc:sldMkLst>
          <pc:docMk/>
          <pc:sldMk cId="466045460" sldId="296"/>
        </pc:sldMkLst>
      </pc:sldChg>
      <pc:sldChg chg="modSp mod modTransition">
        <pc:chgData name="Thomas Stensitzki" userId="75cafe6b-2f2a-469b-85c4-eec3b9c972ba" providerId="ADAL" clId="{84A5A1CF-D4D8-4DEE-82E8-21007BEBD9EB}" dt="2021-11-27T14:22:00.443" v="2304"/>
        <pc:sldMkLst>
          <pc:docMk/>
          <pc:sldMk cId="53967156" sldId="297"/>
        </pc:sldMkLst>
        <pc:spChg chg="mod">
          <ac:chgData name="Thomas Stensitzki" userId="75cafe6b-2f2a-469b-85c4-eec3b9c972ba" providerId="ADAL" clId="{84A5A1CF-D4D8-4DEE-82E8-21007BEBD9EB}" dt="2021-11-27T11:51:42.764" v="95"/>
          <ac:spMkLst>
            <pc:docMk/>
            <pc:sldMk cId="53967156" sldId="297"/>
            <ac:spMk id="4" creationId="{F3A15CBD-C746-44A3-A4F0-4898CE2F02E6}"/>
          </ac:spMkLst>
        </pc:spChg>
        <pc:spChg chg="mod">
          <ac:chgData name="Thomas Stensitzki" userId="75cafe6b-2f2a-469b-85c4-eec3b9c972ba" providerId="ADAL" clId="{84A5A1CF-D4D8-4DEE-82E8-21007BEBD9EB}" dt="2021-11-27T11:52:00.060" v="101" actId="6549"/>
          <ac:spMkLst>
            <pc:docMk/>
            <pc:sldMk cId="53967156" sldId="297"/>
            <ac:spMk id="5" creationId="{F3459BE7-1731-4733-A912-12977C68CFD6}"/>
          </ac:spMkLst>
        </pc:spChg>
      </pc:sldChg>
      <pc:sldChg chg="modTransition">
        <pc:chgData name="Thomas Stensitzki" userId="75cafe6b-2f2a-469b-85c4-eec3b9c972ba" providerId="ADAL" clId="{84A5A1CF-D4D8-4DEE-82E8-21007BEBD9EB}" dt="2021-11-27T14:22:00.443" v="2304"/>
        <pc:sldMkLst>
          <pc:docMk/>
          <pc:sldMk cId="2814967912" sldId="311"/>
        </pc:sldMkLst>
      </pc:sldChg>
      <pc:sldChg chg="modTransition">
        <pc:chgData name="Thomas Stensitzki" userId="75cafe6b-2f2a-469b-85c4-eec3b9c972ba" providerId="ADAL" clId="{84A5A1CF-D4D8-4DEE-82E8-21007BEBD9EB}" dt="2021-11-27T14:22:00.443" v="2304"/>
        <pc:sldMkLst>
          <pc:docMk/>
          <pc:sldMk cId="726195275" sldId="313"/>
        </pc:sldMkLst>
      </pc:sldChg>
      <pc:sldChg chg="modSp mod modTransition">
        <pc:chgData name="Thomas Stensitzki" userId="75cafe6b-2f2a-469b-85c4-eec3b9c972ba" providerId="ADAL" clId="{84A5A1CF-D4D8-4DEE-82E8-21007BEBD9EB}" dt="2021-11-27T14:22:00.443" v="2304"/>
        <pc:sldMkLst>
          <pc:docMk/>
          <pc:sldMk cId="2227487991" sldId="378"/>
        </pc:sldMkLst>
        <pc:spChg chg="mod">
          <ac:chgData name="Thomas Stensitzki" userId="75cafe6b-2f2a-469b-85c4-eec3b9c972ba" providerId="ADAL" clId="{84A5A1CF-D4D8-4DEE-82E8-21007BEBD9EB}" dt="2021-11-27T14:16:24.438" v="1970" actId="14100"/>
          <ac:spMkLst>
            <pc:docMk/>
            <pc:sldMk cId="2227487991" sldId="378"/>
            <ac:spMk id="2" creationId="{909DC09D-B9A6-4493-9A72-1CA7ECB1F5CA}"/>
          </ac:spMkLst>
        </pc:spChg>
        <pc:spChg chg="mod">
          <ac:chgData name="Thomas Stensitzki" userId="75cafe6b-2f2a-469b-85c4-eec3b9c972ba" providerId="ADAL" clId="{84A5A1CF-D4D8-4DEE-82E8-21007BEBD9EB}" dt="2021-11-27T13:11:10.116" v="730"/>
          <ac:spMkLst>
            <pc:docMk/>
            <pc:sldMk cId="2227487991" sldId="378"/>
            <ac:spMk id="5" creationId="{C24DACB5-1BEC-4C86-9652-BAFD8DE56FEF}"/>
          </ac:spMkLst>
        </pc:spChg>
      </pc:sldChg>
      <pc:sldChg chg="mod modTransition modShow">
        <pc:chgData name="Thomas Stensitzki" userId="75cafe6b-2f2a-469b-85c4-eec3b9c972ba" providerId="ADAL" clId="{84A5A1CF-D4D8-4DEE-82E8-21007BEBD9EB}" dt="2021-11-27T14:28:37.836" v="2663" actId="729"/>
        <pc:sldMkLst>
          <pc:docMk/>
          <pc:sldMk cId="2923837414" sldId="513"/>
        </pc:sldMkLst>
      </pc:sldChg>
      <pc:sldChg chg="mod modTransition modShow">
        <pc:chgData name="Thomas Stensitzki" userId="75cafe6b-2f2a-469b-85c4-eec3b9c972ba" providerId="ADAL" clId="{84A5A1CF-D4D8-4DEE-82E8-21007BEBD9EB}" dt="2021-11-27T14:22:00.443" v="2304"/>
        <pc:sldMkLst>
          <pc:docMk/>
          <pc:sldMk cId="2395924320" sldId="514"/>
        </pc:sldMkLst>
      </pc:sldChg>
      <pc:sldChg chg="modSp mod modTransition">
        <pc:chgData name="Thomas Stensitzki" userId="75cafe6b-2f2a-469b-85c4-eec3b9c972ba" providerId="ADAL" clId="{84A5A1CF-D4D8-4DEE-82E8-21007BEBD9EB}" dt="2021-11-27T14:22:40.765" v="2313" actId="1035"/>
        <pc:sldMkLst>
          <pc:docMk/>
          <pc:sldMk cId="3797754622" sldId="515"/>
        </pc:sldMkLst>
        <pc:spChg chg="mod">
          <ac:chgData name="Thomas Stensitzki" userId="75cafe6b-2f2a-469b-85c4-eec3b9c972ba" providerId="ADAL" clId="{84A5A1CF-D4D8-4DEE-82E8-21007BEBD9EB}" dt="2021-11-27T14:22:40.765" v="2313" actId="1035"/>
          <ac:spMkLst>
            <pc:docMk/>
            <pc:sldMk cId="3797754622" sldId="515"/>
            <ac:spMk id="2" creationId="{909DC09D-B9A6-4493-9A72-1CA7ECB1F5CA}"/>
          </ac:spMkLst>
        </pc:spChg>
        <pc:spChg chg="mod">
          <ac:chgData name="Thomas Stensitzki" userId="75cafe6b-2f2a-469b-85c4-eec3b9c972ba" providerId="ADAL" clId="{84A5A1CF-D4D8-4DEE-82E8-21007BEBD9EB}" dt="2021-11-27T14:15:36.629" v="1961" actId="255"/>
          <ac:spMkLst>
            <pc:docMk/>
            <pc:sldMk cId="3797754622" sldId="515"/>
            <ac:spMk id="5" creationId="{C24DACB5-1BEC-4C86-9652-BAFD8DE56FEF}"/>
          </ac:spMkLst>
        </pc:spChg>
      </pc:sldChg>
      <pc:sldChg chg="del">
        <pc:chgData name="Thomas Stensitzki" userId="75cafe6b-2f2a-469b-85c4-eec3b9c972ba" providerId="ADAL" clId="{84A5A1CF-D4D8-4DEE-82E8-21007BEBD9EB}" dt="2021-11-27T12:00:14.428" v="205" actId="47"/>
        <pc:sldMkLst>
          <pc:docMk/>
          <pc:sldMk cId="2712056554" sldId="516"/>
        </pc:sldMkLst>
      </pc:sldChg>
      <pc:sldChg chg="del">
        <pc:chgData name="Thomas Stensitzki" userId="75cafe6b-2f2a-469b-85c4-eec3b9c972ba" providerId="ADAL" clId="{84A5A1CF-D4D8-4DEE-82E8-21007BEBD9EB}" dt="2021-11-27T12:00:14.428" v="205" actId="47"/>
        <pc:sldMkLst>
          <pc:docMk/>
          <pc:sldMk cId="2592263701" sldId="517"/>
        </pc:sldMkLst>
      </pc:sldChg>
      <pc:sldChg chg="del">
        <pc:chgData name="Thomas Stensitzki" userId="75cafe6b-2f2a-469b-85c4-eec3b9c972ba" providerId="ADAL" clId="{84A5A1CF-D4D8-4DEE-82E8-21007BEBD9EB}" dt="2021-11-27T12:00:14.428" v="205" actId="47"/>
        <pc:sldMkLst>
          <pc:docMk/>
          <pc:sldMk cId="2691419104" sldId="518"/>
        </pc:sldMkLst>
      </pc:sldChg>
      <pc:sldChg chg="del">
        <pc:chgData name="Thomas Stensitzki" userId="75cafe6b-2f2a-469b-85c4-eec3b9c972ba" providerId="ADAL" clId="{84A5A1CF-D4D8-4DEE-82E8-21007BEBD9EB}" dt="2021-11-27T12:00:28.725" v="206" actId="47"/>
        <pc:sldMkLst>
          <pc:docMk/>
          <pc:sldMk cId="2239521866" sldId="519"/>
        </pc:sldMkLst>
      </pc:sldChg>
      <pc:sldChg chg="del">
        <pc:chgData name="Thomas Stensitzki" userId="75cafe6b-2f2a-469b-85c4-eec3b9c972ba" providerId="ADAL" clId="{84A5A1CF-D4D8-4DEE-82E8-21007BEBD9EB}" dt="2021-11-27T12:00:28.725" v="206" actId="47"/>
        <pc:sldMkLst>
          <pc:docMk/>
          <pc:sldMk cId="2023308020" sldId="520"/>
        </pc:sldMkLst>
      </pc:sldChg>
      <pc:sldChg chg="del">
        <pc:chgData name="Thomas Stensitzki" userId="75cafe6b-2f2a-469b-85c4-eec3b9c972ba" providerId="ADAL" clId="{84A5A1CF-D4D8-4DEE-82E8-21007BEBD9EB}" dt="2021-11-27T12:00:28.725" v="206" actId="47"/>
        <pc:sldMkLst>
          <pc:docMk/>
          <pc:sldMk cId="3342197954" sldId="521"/>
        </pc:sldMkLst>
      </pc:sldChg>
      <pc:sldChg chg="del">
        <pc:chgData name="Thomas Stensitzki" userId="75cafe6b-2f2a-469b-85c4-eec3b9c972ba" providerId="ADAL" clId="{84A5A1CF-D4D8-4DEE-82E8-21007BEBD9EB}" dt="2021-11-27T12:00:28.725" v="206" actId="47"/>
        <pc:sldMkLst>
          <pc:docMk/>
          <pc:sldMk cId="2697887611" sldId="523"/>
        </pc:sldMkLst>
      </pc:sldChg>
      <pc:sldChg chg="del">
        <pc:chgData name="Thomas Stensitzki" userId="75cafe6b-2f2a-469b-85c4-eec3b9c972ba" providerId="ADAL" clId="{84A5A1CF-D4D8-4DEE-82E8-21007BEBD9EB}" dt="2021-11-27T12:00:28.725" v="206" actId="47"/>
        <pc:sldMkLst>
          <pc:docMk/>
          <pc:sldMk cId="3151864037" sldId="524"/>
        </pc:sldMkLst>
      </pc:sldChg>
      <pc:sldChg chg="del">
        <pc:chgData name="Thomas Stensitzki" userId="75cafe6b-2f2a-469b-85c4-eec3b9c972ba" providerId="ADAL" clId="{84A5A1CF-D4D8-4DEE-82E8-21007BEBD9EB}" dt="2021-11-27T12:00:28.725" v="206" actId="47"/>
        <pc:sldMkLst>
          <pc:docMk/>
          <pc:sldMk cId="1710541557" sldId="525"/>
        </pc:sldMkLst>
      </pc:sldChg>
      <pc:sldChg chg="del">
        <pc:chgData name="Thomas Stensitzki" userId="75cafe6b-2f2a-469b-85c4-eec3b9c972ba" providerId="ADAL" clId="{84A5A1CF-D4D8-4DEE-82E8-21007BEBD9EB}" dt="2021-11-27T12:00:28.725" v="206" actId="47"/>
        <pc:sldMkLst>
          <pc:docMk/>
          <pc:sldMk cId="2296744449" sldId="526"/>
        </pc:sldMkLst>
      </pc:sldChg>
      <pc:sldChg chg="del">
        <pc:chgData name="Thomas Stensitzki" userId="75cafe6b-2f2a-469b-85c4-eec3b9c972ba" providerId="ADAL" clId="{84A5A1CF-D4D8-4DEE-82E8-21007BEBD9EB}" dt="2021-11-27T12:00:28.725" v="206" actId="47"/>
        <pc:sldMkLst>
          <pc:docMk/>
          <pc:sldMk cId="1119798974" sldId="527"/>
        </pc:sldMkLst>
      </pc:sldChg>
      <pc:sldChg chg="del">
        <pc:chgData name="Thomas Stensitzki" userId="75cafe6b-2f2a-469b-85c4-eec3b9c972ba" providerId="ADAL" clId="{84A5A1CF-D4D8-4DEE-82E8-21007BEBD9EB}" dt="2021-11-27T12:00:28.725" v="206" actId="47"/>
        <pc:sldMkLst>
          <pc:docMk/>
          <pc:sldMk cId="2356668622" sldId="528"/>
        </pc:sldMkLst>
      </pc:sldChg>
      <pc:sldChg chg="del">
        <pc:chgData name="Thomas Stensitzki" userId="75cafe6b-2f2a-469b-85c4-eec3b9c972ba" providerId="ADAL" clId="{84A5A1CF-D4D8-4DEE-82E8-21007BEBD9EB}" dt="2021-11-27T12:00:28.725" v="206" actId="47"/>
        <pc:sldMkLst>
          <pc:docMk/>
          <pc:sldMk cId="3227298801" sldId="529"/>
        </pc:sldMkLst>
      </pc:sldChg>
      <pc:sldChg chg="del">
        <pc:chgData name="Thomas Stensitzki" userId="75cafe6b-2f2a-469b-85c4-eec3b9c972ba" providerId="ADAL" clId="{84A5A1CF-D4D8-4DEE-82E8-21007BEBD9EB}" dt="2021-11-27T12:00:14.428" v="205" actId="47"/>
        <pc:sldMkLst>
          <pc:docMk/>
          <pc:sldMk cId="4001838037" sldId="530"/>
        </pc:sldMkLst>
      </pc:sldChg>
      <pc:sldChg chg="del">
        <pc:chgData name="Thomas Stensitzki" userId="75cafe6b-2f2a-469b-85c4-eec3b9c972ba" providerId="ADAL" clId="{84A5A1CF-D4D8-4DEE-82E8-21007BEBD9EB}" dt="2021-11-27T12:00:14.428" v="205" actId="47"/>
        <pc:sldMkLst>
          <pc:docMk/>
          <pc:sldMk cId="459788482" sldId="531"/>
        </pc:sldMkLst>
      </pc:sldChg>
      <pc:sldChg chg="del">
        <pc:chgData name="Thomas Stensitzki" userId="75cafe6b-2f2a-469b-85c4-eec3b9c972ba" providerId="ADAL" clId="{84A5A1CF-D4D8-4DEE-82E8-21007BEBD9EB}" dt="2021-11-27T12:00:28.725" v="206" actId="47"/>
        <pc:sldMkLst>
          <pc:docMk/>
          <pc:sldMk cId="1002663695" sldId="532"/>
        </pc:sldMkLst>
      </pc:sldChg>
      <pc:sldChg chg="del">
        <pc:chgData name="Thomas Stensitzki" userId="75cafe6b-2f2a-469b-85c4-eec3b9c972ba" providerId="ADAL" clId="{84A5A1CF-D4D8-4DEE-82E8-21007BEBD9EB}" dt="2021-11-27T12:00:14.428" v="205" actId="47"/>
        <pc:sldMkLst>
          <pc:docMk/>
          <pc:sldMk cId="3719475429" sldId="533"/>
        </pc:sldMkLst>
      </pc:sldChg>
      <pc:sldChg chg="del">
        <pc:chgData name="Thomas Stensitzki" userId="75cafe6b-2f2a-469b-85c4-eec3b9c972ba" providerId="ADAL" clId="{84A5A1CF-D4D8-4DEE-82E8-21007BEBD9EB}" dt="2021-11-27T12:00:14.428" v="205" actId="47"/>
        <pc:sldMkLst>
          <pc:docMk/>
          <pc:sldMk cId="3555038738" sldId="534"/>
        </pc:sldMkLst>
      </pc:sldChg>
      <pc:sldChg chg="del">
        <pc:chgData name="Thomas Stensitzki" userId="75cafe6b-2f2a-469b-85c4-eec3b9c972ba" providerId="ADAL" clId="{84A5A1CF-D4D8-4DEE-82E8-21007BEBD9EB}" dt="2021-11-27T12:00:14.428" v="205" actId="47"/>
        <pc:sldMkLst>
          <pc:docMk/>
          <pc:sldMk cId="89213568" sldId="535"/>
        </pc:sldMkLst>
      </pc:sldChg>
      <pc:sldChg chg="del">
        <pc:chgData name="Thomas Stensitzki" userId="75cafe6b-2f2a-469b-85c4-eec3b9c972ba" providerId="ADAL" clId="{84A5A1CF-D4D8-4DEE-82E8-21007BEBD9EB}" dt="2021-11-27T12:00:28.725" v="206" actId="47"/>
        <pc:sldMkLst>
          <pc:docMk/>
          <pc:sldMk cId="3161842247" sldId="536"/>
        </pc:sldMkLst>
      </pc:sldChg>
      <pc:sldChg chg="del">
        <pc:chgData name="Thomas Stensitzki" userId="75cafe6b-2f2a-469b-85c4-eec3b9c972ba" providerId="ADAL" clId="{84A5A1CF-D4D8-4DEE-82E8-21007BEBD9EB}" dt="2021-11-27T12:00:28.725" v="206" actId="47"/>
        <pc:sldMkLst>
          <pc:docMk/>
          <pc:sldMk cId="273152899" sldId="537"/>
        </pc:sldMkLst>
      </pc:sldChg>
      <pc:sldChg chg="del">
        <pc:chgData name="Thomas Stensitzki" userId="75cafe6b-2f2a-469b-85c4-eec3b9c972ba" providerId="ADAL" clId="{84A5A1CF-D4D8-4DEE-82E8-21007BEBD9EB}" dt="2021-11-27T12:00:28.725" v="206" actId="47"/>
        <pc:sldMkLst>
          <pc:docMk/>
          <pc:sldMk cId="3101364963" sldId="538"/>
        </pc:sldMkLst>
      </pc:sldChg>
      <pc:sldChg chg="del">
        <pc:chgData name="Thomas Stensitzki" userId="75cafe6b-2f2a-469b-85c4-eec3b9c972ba" providerId="ADAL" clId="{84A5A1CF-D4D8-4DEE-82E8-21007BEBD9EB}" dt="2021-11-27T12:00:28.725" v="206" actId="47"/>
        <pc:sldMkLst>
          <pc:docMk/>
          <pc:sldMk cId="2457228316" sldId="539"/>
        </pc:sldMkLst>
      </pc:sldChg>
      <pc:sldChg chg="del">
        <pc:chgData name="Thomas Stensitzki" userId="75cafe6b-2f2a-469b-85c4-eec3b9c972ba" providerId="ADAL" clId="{84A5A1CF-D4D8-4DEE-82E8-21007BEBD9EB}" dt="2021-11-27T12:00:28.725" v="206" actId="47"/>
        <pc:sldMkLst>
          <pc:docMk/>
          <pc:sldMk cId="3084141999" sldId="540"/>
        </pc:sldMkLst>
      </pc:sldChg>
      <pc:sldChg chg="del">
        <pc:chgData name="Thomas Stensitzki" userId="75cafe6b-2f2a-469b-85c4-eec3b9c972ba" providerId="ADAL" clId="{84A5A1CF-D4D8-4DEE-82E8-21007BEBD9EB}" dt="2021-11-27T12:00:28.725" v="206" actId="47"/>
        <pc:sldMkLst>
          <pc:docMk/>
          <pc:sldMk cId="400379336" sldId="541"/>
        </pc:sldMkLst>
      </pc:sldChg>
      <pc:sldChg chg="del">
        <pc:chgData name="Thomas Stensitzki" userId="75cafe6b-2f2a-469b-85c4-eec3b9c972ba" providerId="ADAL" clId="{84A5A1CF-D4D8-4DEE-82E8-21007BEBD9EB}" dt="2021-11-27T12:00:28.725" v="206" actId="47"/>
        <pc:sldMkLst>
          <pc:docMk/>
          <pc:sldMk cId="2825434786" sldId="542"/>
        </pc:sldMkLst>
      </pc:sldChg>
      <pc:sldChg chg="del">
        <pc:chgData name="Thomas Stensitzki" userId="75cafe6b-2f2a-469b-85c4-eec3b9c972ba" providerId="ADAL" clId="{84A5A1CF-D4D8-4DEE-82E8-21007BEBD9EB}" dt="2021-11-27T12:00:28.725" v="206" actId="47"/>
        <pc:sldMkLst>
          <pc:docMk/>
          <pc:sldMk cId="2440018585" sldId="543"/>
        </pc:sldMkLst>
      </pc:sldChg>
      <pc:sldChg chg="del">
        <pc:chgData name="Thomas Stensitzki" userId="75cafe6b-2f2a-469b-85c4-eec3b9c972ba" providerId="ADAL" clId="{84A5A1CF-D4D8-4DEE-82E8-21007BEBD9EB}" dt="2021-11-27T12:00:28.725" v="206" actId="47"/>
        <pc:sldMkLst>
          <pc:docMk/>
          <pc:sldMk cId="3405544507" sldId="544"/>
        </pc:sldMkLst>
      </pc:sldChg>
      <pc:sldChg chg="del">
        <pc:chgData name="Thomas Stensitzki" userId="75cafe6b-2f2a-469b-85c4-eec3b9c972ba" providerId="ADAL" clId="{84A5A1CF-D4D8-4DEE-82E8-21007BEBD9EB}" dt="2021-11-27T12:00:28.725" v="206" actId="47"/>
        <pc:sldMkLst>
          <pc:docMk/>
          <pc:sldMk cId="3435528560" sldId="545"/>
        </pc:sldMkLst>
      </pc:sldChg>
      <pc:sldChg chg="del">
        <pc:chgData name="Thomas Stensitzki" userId="75cafe6b-2f2a-469b-85c4-eec3b9c972ba" providerId="ADAL" clId="{84A5A1CF-D4D8-4DEE-82E8-21007BEBD9EB}" dt="2021-11-27T12:00:28.725" v="206" actId="47"/>
        <pc:sldMkLst>
          <pc:docMk/>
          <pc:sldMk cId="351288392" sldId="546"/>
        </pc:sldMkLst>
      </pc:sldChg>
      <pc:sldChg chg="del">
        <pc:chgData name="Thomas Stensitzki" userId="75cafe6b-2f2a-469b-85c4-eec3b9c972ba" providerId="ADAL" clId="{84A5A1CF-D4D8-4DEE-82E8-21007BEBD9EB}" dt="2021-11-27T12:00:28.725" v="206" actId="47"/>
        <pc:sldMkLst>
          <pc:docMk/>
          <pc:sldMk cId="553914419" sldId="547"/>
        </pc:sldMkLst>
      </pc:sldChg>
      <pc:sldChg chg="del">
        <pc:chgData name="Thomas Stensitzki" userId="75cafe6b-2f2a-469b-85c4-eec3b9c972ba" providerId="ADAL" clId="{84A5A1CF-D4D8-4DEE-82E8-21007BEBD9EB}" dt="2021-11-27T12:00:28.725" v="206" actId="47"/>
        <pc:sldMkLst>
          <pc:docMk/>
          <pc:sldMk cId="3814430672" sldId="548"/>
        </pc:sldMkLst>
      </pc:sldChg>
      <pc:sldChg chg="del">
        <pc:chgData name="Thomas Stensitzki" userId="75cafe6b-2f2a-469b-85c4-eec3b9c972ba" providerId="ADAL" clId="{84A5A1CF-D4D8-4DEE-82E8-21007BEBD9EB}" dt="2021-11-27T12:00:28.725" v="206" actId="47"/>
        <pc:sldMkLst>
          <pc:docMk/>
          <pc:sldMk cId="3585174972" sldId="549"/>
        </pc:sldMkLst>
      </pc:sldChg>
      <pc:sldChg chg="del">
        <pc:chgData name="Thomas Stensitzki" userId="75cafe6b-2f2a-469b-85c4-eec3b9c972ba" providerId="ADAL" clId="{84A5A1CF-D4D8-4DEE-82E8-21007BEBD9EB}" dt="2021-11-27T12:00:28.725" v="206" actId="47"/>
        <pc:sldMkLst>
          <pc:docMk/>
          <pc:sldMk cId="50830545" sldId="550"/>
        </pc:sldMkLst>
      </pc:sldChg>
      <pc:sldChg chg="del">
        <pc:chgData name="Thomas Stensitzki" userId="75cafe6b-2f2a-469b-85c4-eec3b9c972ba" providerId="ADAL" clId="{84A5A1CF-D4D8-4DEE-82E8-21007BEBD9EB}" dt="2021-11-27T12:00:28.725" v="206" actId="47"/>
        <pc:sldMkLst>
          <pc:docMk/>
          <pc:sldMk cId="4020096464" sldId="551"/>
        </pc:sldMkLst>
      </pc:sldChg>
      <pc:sldChg chg="del">
        <pc:chgData name="Thomas Stensitzki" userId="75cafe6b-2f2a-469b-85c4-eec3b9c972ba" providerId="ADAL" clId="{84A5A1CF-D4D8-4DEE-82E8-21007BEBD9EB}" dt="2021-11-27T12:00:28.725" v="206" actId="47"/>
        <pc:sldMkLst>
          <pc:docMk/>
          <pc:sldMk cId="2714743288" sldId="552"/>
        </pc:sldMkLst>
      </pc:sldChg>
      <pc:sldChg chg="del">
        <pc:chgData name="Thomas Stensitzki" userId="75cafe6b-2f2a-469b-85c4-eec3b9c972ba" providerId="ADAL" clId="{84A5A1CF-D4D8-4DEE-82E8-21007BEBD9EB}" dt="2021-11-27T12:00:14.428" v="205" actId="47"/>
        <pc:sldMkLst>
          <pc:docMk/>
          <pc:sldMk cId="941299666" sldId="553"/>
        </pc:sldMkLst>
      </pc:sldChg>
      <pc:sldChg chg="del">
        <pc:chgData name="Thomas Stensitzki" userId="75cafe6b-2f2a-469b-85c4-eec3b9c972ba" providerId="ADAL" clId="{84A5A1CF-D4D8-4DEE-82E8-21007BEBD9EB}" dt="2021-11-27T12:00:14.428" v="205" actId="47"/>
        <pc:sldMkLst>
          <pc:docMk/>
          <pc:sldMk cId="2071923169" sldId="554"/>
        </pc:sldMkLst>
      </pc:sldChg>
      <pc:sldChg chg="del">
        <pc:chgData name="Thomas Stensitzki" userId="75cafe6b-2f2a-469b-85c4-eec3b9c972ba" providerId="ADAL" clId="{84A5A1CF-D4D8-4DEE-82E8-21007BEBD9EB}" dt="2021-11-27T12:00:14.428" v="205" actId="47"/>
        <pc:sldMkLst>
          <pc:docMk/>
          <pc:sldMk cId="1201850461" sldId="555"/>
        </pc:sldMkLst>
      </pc:sldChg>
      <pc:sldChg chg="del">
        <pc:chgData name="Thomas Stensitzki" userId="75cafe6b-2f2a-469b-85c4-eec3b9c972ba" providerId="ADAL" clId="{84A5A1CF-D4D8-4DEE-82E8-21007BEBD9EB}" dt="2021-11-27T12:00:14.428" v="205" actId="47"/>
        <pc:sldMkLst>
          <pc:docMk/>
          <pc:sldMk cId="1634876817" sldId="556"/>
        </pc:sldMkLst>
      </pc:sldChg>
      <pc:sldChg chg="del">
        <pc:chgData name="Thomas Stensitzki" userId="75cafe6b-2f2a-469b-85c4-eec3b9c972ba" providerId="ADAL" clId="{84A5A1CF-D4D8-4DEE-82E8-21007BEBD9EB}" dt="2021-11-27T12:00:14.428" v="205" actId="47"/>
        <pc:sldMkLst>
          <pc:docMk/>
          <pc:sldMk cId="1953218065" sldId="557"/>
        </pc:sldMkLst>
      </pc:sldChg>
      <pc:sldChg chg="del">
        <pc:chgData name="Thomas Stensitzki" userId="75cafe6b-2f2a-469b-85c4-eec3b9c972ba" providerId="ADAL" clId="{84A5A1CF-D4D8-4DEE-82E8-21007BEBD9EB}" dt="2021-11-27T12:00:14.428" v="205" actId="47"/>
        <pc:sldMkLst>
          <pc:docMk/>
          <pc:sldMk cId="4180666764" sldId="558"/>
        </pc:sldMkLst>
      </pc:sldChg>
      <pc:sldChg chg="del">
        <pc:chgData name="Thomas Stensitzki" userId="75cafe6b-2f2a-469b-85c4-eec3b9c972ba" providerId="ADAL" clId="{84A5A1CF-D4D8-4DEE-82E8-21007BEBD9EB}" dt="2021-11-27T12:00:14.428" v="205" actId="47"/>
        <pc:sldMkLst>
          <pc:docMk/>
          <pc:sldMk cId="3051092088" sldId="559"/>
        </pc:sldMkLst>
      </pc:sldChg>
      <pc:sldChg chg="modTransition">
        <pc:chgData name="Thomas Stensitzki" userId="75cafe6b-2f2a-469b-85c4-eec3b9c972ba" providerId="ADAL" clId="{84A5A1CF-D4D8-4DEE-82E8-21007BEBD9EB}" dt="2021-11-27T14:22:00.443" v="2304"/>
        <pc:sldMkLst>
          <pc:docMk/>
          <pc:sldMk cId="2791634409" sldId="560"/>
        </pc:sldMkLst>
      </pc:sldChg>
      <pc:sldChg chg="modSp mod modTransition">
        <pc:chgData name="Thomas Stensitzki" userId="75cafe6b-2f2a-469b-85c4-eec3b9c972ba" providerId="ADAL" clId="{84A5A1CF-D4D8-4DEE-82E8-21007BEBD9EB}" dt="2021-12-02T16:26:37.639" v="2824" actId="20577"/>
        <pc:sldMkLst>
          <pc:docMk/>
          <pc:sldMk cId="1728515471" sldId="561"/>
        </pc:sldMkLst>
        <pc:graphicFrameChg chg="modGraphic">
          <ac:chgData name="Thomas Stensitzki" userId="75cafe6b-2f2a-469b-85c4-eec3b9c972ba" providerId="ADAL" clId="{84A5A1CF-D4D8-4DEE-82E8-21007BEBD9EB}" dt="2021-12-02T16:26:37.639" v="2824" actId="20577"/>
          <ac:graphicFrameMkLst>
            <pc:docMk/>
            <pc:sldMk cId="1728515471" sldId="561"/>
            <ac:graphicFrameMk id="4" creationId="{55EDB790-67BC-42E5-B64A-5647620B8383}"/>
          </ac:graphicFrameMkLst>
        </pc:graphicFrameChg>
      </pc:sldChg>
      <pc:sldChg chg="modSp new mod ord modTransition">
        <pc:chgData name="Thomas Stensitzki" userId="75cafe6b-2f2a-469b-85c4-eec3b9c972ba" providerId="ADAL" clId="{84A5A1CF-D4D8-4DEE-82E8-21007BEBD9EB}" dt="2021-11-27T14:22:00.443" v="2304"/>
        <pc:sldMkLst>
          <pc:docMk/>
          <pc:sldMk cId="897532384" sldId="562"/>
        </pc:sldMkLst>
        <pc:spChg chg="mod">
          <ac:chgData name="Thomas Stensitzki" userId="75cafe6b-2f2a-469b-85c4-eec3b9c972ba" providerId="ADAL" clId="{84A5A1CF-D4D8-4DEE-82E8-21007BEBD9EB}" dt="2021-11-27T12:30:47.989" v="212"/>
          <ac:spMkLst>
            <pc:docMk/>
            <pc:sldMk cId="897532384" sldId="562"/>
            <ac:spMk id="2" creationId="{B9384983-4DF6-4A09-B757-2DBD331A8DEC}"/>
          </ac:spMkLst>
        </pc:spChg>
        <pc:spChg chg="mod">
          <ac:chgData name="Thomas Stensitzki" userId="75cafe6b-2f2a-469b-85c4-eec3b9c972ba" providerId="ADAL" clId="{84A5A1CF-D4D8-4DEE-82E8-21007BEBD9EB}" dt="2021-11-27T12:33:15.558" v="244" actId="113"/>
          <ac:spMkLst>
            <pc:docMk/>
            <pc:sldMk cId="897532384" sldId="562"/>
            <ac:spMk id="3" creationId="{5E82B50B-288A-44A6-9AC2-EE4197BFDE54}"/>
          </ac:spMkLst>
        </pc:spChg>
      </pc:sldChg>
      <pc:sldChg chg="addSp delSp modSp new mod ord modTransition">
        <pc:chgData name="Thomas Stensitzki" userId="75cafe6b-2f2a-469b-85c4-eec3b9c972ba" providerId="ADAL" clId="{84A5A1CF-D4D8-4DEE-82E8-21007BEBD9EB}" dt="2021-11-27T14:22:00.443" v="2304"/>
        <pc:sldMkLst>
          <pc:docMk/>
          <pc:sldMk cId="2102933315" sldId="563"/>
        </pc:sldMkLst>
        <pc:spChg chg="mod">
          <ac:chgData name="Thomas Stensitzki" userId="75cafe6b-2f2a-469b-85c4-eec3b9c972ba" providerId="ADAL" clId="{84A5A1CF-D4D8-4DEE-82E8-21007BEBD9EB}" dt="2021-11-27T12:34:28.361" v="246"/>
          <ac:spMkLst>
            <pc:docMk/>
            <pc:sldMk cId="2102933315" sldId="563"/>
            <ac:spMk id="2" creationId="{749A14BF-8BA4-4101-95CA-9F334BB75553}"/>
          </ac:spMkLst>
        </pc:spChg>
        <pc:spChg chg="del">
          <ac:chgData name="Thomas Stensitzki" userId="75cafe6b-2f2a-469b-85c4-eec3b9c972ba" providerId="ADAL" clId="{84A5A1CF-D4D8-4DEE-82E8-21007BEBD9EB}" dt="2021-11-27T12:35:39.160" v="247" actId="478"/>
          <ac:spMkLst>
            <pc:docMk/>
            <pc:sldMk cId="2102933315" sldId="563"/>
            <ac:spMk id="3" creationId="{6A74F9E0-6240-4984-BD06-5A913609FCE1}"/>
          </ac:spMkLst>
        </pc:spChg>
        <pc:picChg chg="add mod">
          <ac:chgData name="Thomas Stensitzki" userId="75cafe6b-2f2a-469b-85c4-eec3b9c972ba" providerId="ADAL" clId="{84A5A1CF-D4D8-4DEE-82E8-21007BEBD9EB}" dt="2021-11-27T12:35:55.538" v="251" actId="1440"/>
          <ac:picMkLst>
            <pc:docMk/>
            <pc:sldMk cId="2102933315" sldId="563"/>
            <ac:picMk id="5" creationId="{A68F87C8-9FE2-408A-BF02-EA030B35165A}"/>
          </ac:picMkLst>
        </pc:picChg>
      </pc:sldChg>
      <pc:sldChg chg="addSp delSp modSp new mod ord modTransition">
        <pc:chgData name="Thomas Stensitzki" userId="75cafe6b-2f2a-469b-85c4-eec3b9c972ba" providerId="ADAL" clId="{84A5A1CF-D4D8-4DEE-82E8-21007BEBD9EB}" dt="2021-11-27T14:22:00.443" v="2304"/>
        <pc:sldMkLst>
          <pc:docMk/>
          <pc:sldMk cId="2675026296" sldId="564"/>
        </pc:sldMkLst>
        <pc:spChg chg="mod">
          <ac:chgData name="Thomas Stensitzki" userId="75cafe6b-2f2a-469b-85c4-eec3b9c972ba" providerId="ADAL" clId="{84A5A1CF-D4D8-4DEE-82E8-21007BEBD9EB}" dt="2021-11-27T12:37:50.304" v="265" actId="1076"/>
          <ac:spMkLst>
            <pc:docMk/>
            <pc:sldMk cId="2675026296" sldId="564"/>
            <ac:spMk id="2" creationId="{6894DBB3-E0CF-4EE8-A621-167E57CE7B06}"/>
          </ac:spMkLst>
        </pc:spChg>
        <pc:spChg chg="del">
          <ac:chgData name="Thomas Stensitzki" userId="75cafe6b-2f2a-469b-85c4-eec3b9c972ba" providerId="ADAL" clId="{84A5A1CF-D4D8-4DEE-82E8-21007BEBD9EB}" dt="2021-11-27T12:37:21.819" v="259" actId="478"/>
          <ac:spMkLst>
            <pc:docMk/>
            <pc:sldMk cId="2675026296" sldId="564"/>
            <ac:spMk id="3" creationId="{B4A61D97-79E4-40D7-9E37-F1684755E894}"/>
          </ac:spMkLst>
        </pc:spChg>
        <pc:picChg chg="add mod">
          <ac:chgData name="Thomas Stensitzki" userId="75cafe6b-2f2a-469b-85c4-eec3b9c972ba" providerId="ADAL" clId="{84A5A1CF-D4D8-4DEE-82E8-21007BEBD9EB}" dt="2021-11-27T12:39:18.392" v="279" actId="1076"/>
          <ac:picMkLst>
            <pc:docMk/>
            <pc:sldMk cId="2675026296" sldId="564"/>
            <ac:picMk id="1026" creationId="{C19B7B81-97C0-485B-AB93-5AD9968F0B8D}"/>
          </ac:picMkLst>
        </pc:picChg>
        <pc:picChg chg="add del mod">
          <ac:chgData name="Thomas Stensitzki" userId="75cafe6b-2f2a-469b-85c4-eec3b9c972ba" providerId="ADAL" clId="{84A5A1CF-D4D8-4DEE-82E8-21007BEBD9EB}" dt="2021-11-27T12:38:52.491" v="273" actId="478"/>
          <ac:picMkLst>
            <pc:docMk/>
            <pc:sldMk cId="2675026296" sldId="564"/>
            <ac:picMk id="1028" creationId="{21C8DDE4-9892-4712-B01C-CC83F24BDE85}"/>
          </ac:picMkLst>
        </pc:picChg>
      </pc:sldChg>
      <pc:sldChg chg="addSp delSp modSp add ord modTransition">
        <pc:chgData name="Thomas Stensitzki" userId="75cafe6b-2f2a-469b-85c4-eec3b9c972ba" providerId="ADAL" clId="{84A5A1CF-D4D8-4DEE-82E8-21007BEBD9EB}" dt="2021-11-27T14:22:00.443" v="2304"/>
        <pc:sldMkLst>
          <pc:docMk/>
          <pc:sldMk cId="3751554083" sldId="565"/>
        </pc:sldMkLst>
        <pc:picChg chg="add del mod">
          <ac:chgData name="Thomas Stensitzki" userId="75cafe6b-2f2a-469b-85c4-eec3b9c972ba" providerId="ADAL" clId="{84A5A1CF-D4D8-4DEE-82E8-21007BEBD9EB}" dt="2021-11-27T12:39:33.531" v="283"/>
          <ac:picMkLst>
            <pc:docMk/>
            <pc:sldMk cId="3751554083" sldId="565"/>
            <ac:picMk id="5" creationId="{BF5C1B38-37EE-49E6-8EB0-40C18F276FC4}"/>
          </ac:picMkLst>
        </pc:picChg>
        <pc:picChg chg="del">
          <ac:chgData name="Thomas Stensitzki" userId="75cafe6b-2f2a-469b-85c4-eec3b9c972ba" providerId="ADAL" clId="{84A5A1CF-D4D8-4DEE-82E8-21007BEBD9EB}" dt="2021-11-27T12:39:08.086" v="277" actId="478"/>
          <ac:picMkLst>
            <pc:docMk/>
            <pc:sldMk cId="3751554083" sldId="565"/>
            <ac:picMk id="1026" creationId="{C19B7B81-97C0-485B-AB93-5AD9968F0B8D}"/>
          </ac:picMkLst>
        </pc:picChg>
        <pc:picChg chg="mod">
          <ac:chgData name="Thomas Stensitzki" userId="75cafe6b-2f2a-469b-85c4-eec3b9c972ba" providerId="ADAL" clId="{84A5A1CF-D4D8-4DEE-82E8-21007BEBD9EB}" dt="2021-11-27T12:39:26.588" v="281" actId="1440"/>
          <ac:picMkLst>
            <pc:docMk/>
            <pc:sldMk cId="3751554083" sldId="565"/>
            <ac:picMk id="1028" creationId="{21C8DDE4-9892-4712-B01C-CC83F24BDE85}"/>
          </ac:picMkLst>
        </pc:picChg>
      </pc:sldChg>
      <pc:sldChg chg="addSp delSp modSp add mod ord modTransition">
        <pc:chgData name="Thomas Stensitzki" userId="75cafe6b-2f2a-469b-85c4-eec3b9c972ba" providerId="ADAL" clId="{84A5A1CF-D4D8-4DEE-82E8-21007BEBD9EB}" dt="2021-11-27T14:22:00.443" v="2304"/>
        <pc:sldMkLst>
          <pc:docMk/>
          <pc:sldMk cId="3413303963" sldId="566"/>
        </pc:sldMkLst>
        <pc:spChg chg="add mod">
          <ac:chgData name="Thomas Stensitzki" userId="75cafe6b-2f2a-469b-85c4-eec3b9c972ba" providerId="ADAL" clId="{84A5A1CF-D4D8-4DEE-82E8-21007BEBD9EB}" dt="2021-11-27T12:52:32.858" v="526" actId="113"/>
          <ac:spMkLst>
            <pc:docMk/>
            <pc:sldMk cId="3413303963" sldId="566"/>
            <ac:spMk id="3" creationId="{F6637E9C-07CF-46F5-B8BA-8BD6C6DD390A}"/>
          </ac:spMkLst>
        </pc:spChg>
        <pc:picChg chg="del">
          <ac:chgData name="Thomas Stensitzki" userId="75cafe6b-2f2a-469b-85c4-eec3b9c972ba" providerId="ADAL" clId="{84A5A1CF-D4D8-4DEE-82E8-21007BEBD9EB}" dt="2021-11-27T12:40:01.213" v="292" actId="478"/>
          <ac:picMkLst>
            <pc:docMk/>
            <pc:sldMk cId="3413303963" sldId="566"/>
            <ac:picMk id="1028" creationId="{21C8DDE4-9892-4712-B01C-CC83F24BDE85}"/>
          </ac:picMkLst>
        </pc:picChg>
        <pc:picChg chg="add mod">
          <ac:chgData name="Thomas Stensitzki" userId="75cafe6b-2f2a-469b-85c4-eec3b9c972ba" providerId="ADAL" clId="{84A5A1CF-D4D8-4DEE-82E8-21007BEBD9EB}" dt="2021-11-27T12:40:07.774" v="293" actId="1440"/>
          <ac:picMkLst>
            <pc:docMk/>
            <pc:sldMk cId="3413303963" sldId="566"/>
            <ac:picMk id="2050" creationId="{D44C025D-3636-4E33-8799-71326FAB6D2F}"/>
          </ac:picMkLst>
        </pc:picChg>
      </pc:sldChg>
      <pc:sldChg chg="modSp new mod modTransition modNotesTx">
        <pc:chgData name="Thomas Stensitzki" userId="75cafe6b-2f2a-469b-85c4-eec3b9c972ba" providerId="ADAL" clId="{84A5A1CF-D4D8-4DEE-82E8-21007BEBD9EB}" dt="2021-11-27T14:22:00.443" v="2304"/>
        <pc:sldMkLst>
          <pc:docMk/>
          <pc:sldMk cId="4104137776" sldId="567"/>
        </pc:sldMkLst>
        <pc:spChg chg="mod">
          <ac:chgData name="Thomas Stensitzki" userId="75cafe6b-2f2a-469b-85c4-eec3b9c972ba" providerId="ADAL" clId="{84A5A1CF-D4D8-4DEE-82E8-21007BEBD9EB}" dt="2021-11-27T12:44:11.212" v="357"/>
          <ac:spMkLst>
            <pc:docMk/>
            <pc:sldMk cId="4104137776" sldId="567"/>
            <ac:spMk id="2" creationId="{EC46AD28-746E-4246-884F-4DAE24C62042}"/>
          </ac:spMkLst>
        </pc:spChg>
        <pc:spChg chg="mod">
          <ac:chgData name="Thomas Stensitzki" userId="75cafe6b-2f2a-469b-85c4-eec3b9c972ba" providerId="ADAL" clId="{84A5A1CF-D4D8-4DEE-82E8-21007BEBD9EB}" dt="2021-11-27T12:46:10.281" v="453" actId="6549"/>
          <ac:spMkLst>
            <pc:docMk/>
            <pc:sldMk cId="4104137776" sldId="567"/>
            <ac:spMk id="3" creationId="{4B4B1B02-433C-4551-A25C-9193BE90D3D9}"/>
          </ac:spMkLst>
        </pc:spChg>
      </pc:sldChg>
      <pc:sldChg chg="addSp modSp new mod modTransition">
        <pc:chgData name="Thomas Stensitzki" userId="75cafe6b-2f2a-469b-85c4-eec3b9c972ba" providerId="ADAL" clId="{84A5A1CF-D4D8-4DEE-82E8-21007BEBD9EB}" dt="2021-11-27T14:22:00.443" v="2304"/>
        <pc:sldMkLst>
          <pc:docMk/>
          <pc:sldMk cId="2906341100" sldId="568"/>
        </pc:sldMkLst>
        <pc:spChg chg="mod">
          <ac:chgData name="Thomas Stensitzki" userId="75cafe6b-2f2a-469b-85c4-eec3b9c972ba" providerId="ADAL" clId="{84A5A1CF-D4D8-4DEE-82E8-21007BEBD9EB}" dt="2021-11-27T12:46:57.032" v="457"/>
          <ac:spMkLst>
            <pc:docMk/>
            <pc:sldMk cId="2906341100" sldId="568"/>
            <ac:spMk id="2" creationId="{213EDA42-9E99-426D-A9D3-11B033786D89}"/>
          </ac:spMkLst>
        </pc:spChg>
        <pc:spChg chg="mod">
          <ac:chgData name="Thomas Stensitzki" userId="75cafe6b-2f2a-469b-85c4-eec3b9c972ba" providerId="ADAL" clId="{84A5A1CF-D4D8-4DEE-82E8-21007BEBD9EB}" dt="2021-11-27T12:48:59.009" v="474" actId="20577"/>
          <ac:spMkLst>
            <pc:docMk/>
            <pc:sldMk cId="2906341100" sldId="568"/>
            <ac:spMk id="3" creationId="{094B73E2-A551-418E-A4BA-2ECB4EFA713E}"/>
          </ac:spMkLst>
        </pc:spChg>
        <pc:picChg chg="add mod">
          <ac:chgData name="Thomas Stensitzki" userId="75cafe6b-2f2a-469b-85c4-eec3b9c972ba" providerId="ADAL" clId="{84A5A1CF-D4D8-4DEE-82E8-21007BEBD9EB}" dt="2021-11-27T12:48:34.178" v="471" actId="1076"/>
          <ac:picMkLst>
            <pc:docMk/>
            <pc:sldMk cId="2906341100" sldId="568"/>
            <ac:picMk id="4098" creationId="{71F0A4FF-3761-4119-A138-E7851CF4ABF5}"/>
          </ac:picMkLst>
        </pc:picChg>
        <pc:picChg chg="add mod">
          <ac:chgData name="Thomas Stensitzki" userId="75cafe6b-2f2a-469b-85c4-eec3b9c972ba" providerId="ADAL" clId="{84A5A1CF-D4D8-4DEE-82E8-21007BEBD9EB}" dt="2021-11-27T12:48:38.379" v="472" actId="1440"/>
          <ac:picMkLst>
            <pc:docMk/>
            <pc:sldMk cId="2906341100" sldId="568"/>
            <ac:picMk id="4100" creationId="{AEF59BB8-3804-464D-864E-6AC392EDAB61}"/>
          </ac:picMkLst>
        </pc:picChg>
      </pc:sldChg>
      <pc:sldChg chg="addSp delSp modSp new mod modTransition">
        <pc:chgData name="Thomas Stensitzki" userId="75cafe6b-2f2a-469b-85c4-eec3b9c972ba" providerId="ADAL" clId="{84A5A1CF-D4D8-4DEE-82E8-21007BEBD9EB}" dt="2021-11-27T14:22:00.443" v="2304"/>
        <pc:sldMkLst>
          <pc:docMk/>
          <pc:sldMk cId="3640343721" sldId="569"/>
        </pc:sldMkLst>
        <pc:spChg chg="mod">
          <ac:chgData name="Thomas Stensitzki" userId="75cafe6b-2f2a-469b-85c4-eec3b9c972ba" providerId="ADAL" clId="{84A5A1CF-D4D8-4DEE-82E8-21007BEBD9EB}" dt="2021-11-27T12:50:46.154" v="484" actId="20577"/>
          <ac:spMkLst>
            <pc:docMk/>
            <pc:sldMk cId="3640343721" sldId="569"/>
            <ac:spMk id="2" creationId="{077AA5A5-DF68-41E8-8F8D-92196D7B40ED}"/>
          </ac:spMkLst>
        </pc:spChg>
        <pc:spChg chg="del">
          <ac:chgData name="Thomas Stensitzki" userId="75cafe6b-2f2a-469b-85c4-eec3b9c972ba" providerId="ADAL" clId="{84A5A1CF-D4D8-4DEE-82E8-21007BEBD9EB}" dt="2021-11-27T12:50:54.617" v="485" actId="478"/>
          <ac:spMkLst>
            <pc:docMk/>
            <pc:sldMk cId="3640343721" sldId="569"/>
            <ac:spMk id="3" creationId="{FB59501C-46E8-4FDC-A36A-091E660B1782}"/>
          </ac:spMkLst>
        </pc:spChg>
        <pc:spChg chg="add mod">
          <ac:chgData name="Thomas Stensitzki" userId="75cafe6b-2f2a-469b-85c4-eec3b9c972ba" providerId="ADAL" clId="{84A5A1CF-D4D8-4DEE-82E8-21007BEBD9EB}" dt="2021-11-27T12:52:10.018" v="525" actId="113"/>
          <ac:spMkLst>
            <pc:docMk/>
            <pc:sldMk cId="3640343721" sldId="569"/>
            <ac:spMk id="7" creationId="{40BDCE98-5D01-471F-8B84-ACD046237E26}"/>
          </ac:spMkLst>
        </pc:spChg>
        <pc:picChg chg="add mod">
          <ac:chgData name="Thomas Stensitzki" userId="75cafe6b-2f2a-469b-85c4-eec3b9c972ba" providerId="ADAL" clId="{84A5A1CF-D4D8-4DEE-82E8-21007BEBD9EB}" dt="2021-11-27T12:51:04.945" v="488" actId="1076"/>
          <ac:picMkLst>
            <pc:docMk/>
            <pc:sldMk cId="3640343721" sldId="569"/>
            <ac:picMk id="5122" creationId="{BBACD33E-D0F0-4797-9E16-003214C3CE82}"/>
          </ac:picMkLst>
        </pc:picChg>
        <pc:cxnChg chg="add mod">
          <ac:chgData name="Thomas Stensitzki" userId="75cafe6b-2f2a-469b-85c4-eec3b9c972ba" providerId="ADAL" clId="{84A5A1CF-D4D8-4DEE-82E8-21007BEBD9EB}" dt="2021-11-27T12:51:24.336" v="491" actId="1582"/>
          <ac:cxnSpMkLst>
            <pc:docMk/>
            <pc:sldMk cId="3640343721" sldId="569"/>
            <ac:cxnSpMk id="5" creationId="{65597AF5-6F28-40B8-9958-113C8DF28DB4}"/>
          </ac:cxnSpMkLst>
        </pc:cxnChg>
      </pc:sldChg>
      <pc:sldChg chg="addSp delSp modSp new mod modTransition">
        <pc:chgData name="Thomas Stensitzki" userId="75cafe6b-2f2a-469b-85c4-eec3b9c972ba" providerId="ADAL" clId="{84A5A1CF-D4D8-4DEE-82E8-21007BEBD9EB}" dt="2021-11-27T14:22:00.443" v="2304"/>
        <pc:sldMkLst>
          <pc:docMk/>
          <pc:sldMk cId="1487249929" sldId="570"/>
        </pc:sldMkLst>
        <pc:spChg chg="mod">
          <ac:chgData name="Thomas Stensitzki" userId="75cafe6b-2f2a-469b-85c4-eec3b9c972ba" providerId="ADAL" clId="{84A5A1CF-D4D8-4DEE-82E8-21007BEBD9EB}" dt="2021-11-27T12:54:30.953" v="570"/>
          <ac:spMkLst>
            <pc:docMk/>
            <pc:sldMk cId="1487249929" sldId="570"/>
            <ac:spMk id="2" creationId="{2B5644A9-E384-47CB-8AF9-D66B20F16926}"/>
          </ac:spMkLst>
        </pc:spChg>
        <pc:spChg chg="del">
          <ac:chgData name="Thomas Stensitzki" userId="75cafe6b-2f2a-469b-85c4-eec3b9c972ba" providerId="ADAL" clId="{84A5A1CF-D4D8-4DEE-82E8-21007BEBD9EB}" dt="2021-11-27T12:54:33.666" v="571" actId="478"/>
          <ac:spMkLst>
            <pc:docMk/>
            <pc:sldMk cId="1487249929" sldId="570"/>
            <ac:spMk id="3" creationId="{3F74D62A-2892-4EEB-9535-65970DDE4C9A}"/>
          </ac:spMkLst>
        </pc:spChg>
        <pc:spChg chg="add mod">
          <ac:chgData name="Thomas Stensitzki" userId="75cafe6b-2f2a-469b-85c4-eec3b9c972ba" providerId="ADAL" clId="{84A5A1CF-D4D8-4DEE-82E8-21007BEBD9EB}" dt="2021-11-27T12:55:17.245" v="579"/>
          <ac:spMkLst>
            <pc:docMk/>
            <pc:sldMk cId="1487249929" sldId="570"/>
            <ac:spMk id="6" creationId="{67408528-496B-4A8C-923D-BBCF0BF450CD}"/>
          </ac:spMkLst>
        </pc:spChg>
        <pc:picChg chg="add mod">
          <ac:chgData name="Thomas Stensitzki" userId="75cafe6b-2f2a-469b-85c4-eec3b9c972ba" providerId="ADAL" clId="{84A5A1CF-D4D8-4DEE-82E8-21007BEBD9EB}" dt="2021-11-27T12:54:53.184" v="574" actId="1076"/>
          <ac:picMkLst>
            <pc:docMk/>
            <pc:sldMk cId="1487249929" sldId="570"/>
            <ac:picMk id="6146" creationId="{6D39E317-C8A4-4105-9304-C618D6BF7D51}"/>
          </ac:picMkLst>
        </pc:picChg>
        <pc:cxnChg chg="add del mod">
          <ac:chgData name="Thomas Stensitzki" userId="75cafe6b-2f2a-469b-85c4-eec3b9c972ba" providerId="ADAL" clId="{84A5A1CF-D4D8-4DEE-82E8-21007BEBD9EB}" dt="2021-11-27T12:55:12.032" v="578" actId="478"/>
          <ac:cxnSpMkLst>
            <pc:docMk/>
            <pc:sldMk cId="1487249929" sldId="570"/>
            <ac:cxnSpMk id="5" creationId="{C2BE2268-1F13-4EA2-8125-79393F30B47C}"/>
          </ac:cxnSpMkLst>
        </pc:cxnChg>
      </pc:sldChg>
      <pc:sldChg chg="addSp delSp modSp new mod modTransition">
        <pc:chgData name="Thomas Stensitzki" userId="75cafe6b-2f2a-469b-85c4-eec3b9c972ba" providerId="ADAL" clId="{84A5A1CF-D4D8-4DEE-82E8-21007BEBD9EB}" dt="2021-11-27T14:22:00.443" v="2304"/>
        <pc:sldMkLst>
          <pc:docMk/>
          <pc:sldMk cId="3439814073" sldId="571"/>
        </pc:sldMkLst>
        <pc:spChg chg="mod">
          <ac:chgData name="Thomas Stensitzki" userId="75cafe6b-2f2a-469b-85c4-eec3b9c972ba" providerId="ADAL" clId="{84A5A1CF-D4D8-4DEE-82E8-21007BEBD9EB}" dt="2021-11-27T12:56:03.419" v="583"/>
          <ac:spMkLst>
            <pc:docMk/>
            <pc:sldMk cId="3439814073" sldId="571"/>
            <ac:spMk id="2" creationId="{D8507FEC-74F7-4C21-8EF9-BA9209F32E2B}"/>
          </ac:spMkLst>
        </pc:spChg>
        <pc:spChg chg="mod">
          <ac:chgData name="Thomas Stensitzki" userId="75cafe6b-2f2a-469b-85c4-eec3b9c972ba" providerId="ADAL" clId="{84A5A1CF-D4D8-4DEE-82E8-21007BEBD9EB}" dt="2021-11-27T13:04:48.915" v="704" actId="20577"/>
          <ac:spMkLst>
            <pc:docMk/>
            <pc:sldMk cId="3439814073" sldId="571"/>
            <ac:spMk id="3" creationId="{6EB7B5E6-89A9-4BAC-8504-02BC60651AFA}"/>
          </ac:spMkLst>
        </pc:spChg>
        <pc:spChg chg="add del">
          <ac:chgData name="Thomas Stensitzki" userId="75cafe6b-2f2a-469b-85c4-eec3b9c972ba" providerId="ADAL" clId="{84A5A1CF-D4D8-4DEE-82E8-21007BEBD9EB}" dt="2021-11-27T13:12:08.846" v="733" actId="22"/>
          <ac:spMkLst>
            <pc:docMk/>
            <pc:sldMk cId="3439814073" sldId="571"/>
            <ac:spMk id="5" creationId="{A8A57D1A-AFEB-4F1F-B48D-A517BC4FD13C}"/>
          </ac:spMkLst>
        </pc:spChg>
      </pc:sldChg>
      <pc:sldChg chg="modSp new mod modTransition">
        <pc:chgData name="Thomas Stensitzki" userId="75cafe6b-2f2a-469b-85c4-eec3b9c972ba" providerId="ADAL" clId="{84A5A1CF-D4D8-4DEE-82E8-21007BEBD9EB}" dt="2021-11-27T14:22:00.443" v="2304"/>
        <pc:sldMkLst>
          <pc:docMk/>
          <pc:sldMk cId="3856037473" sldId="572"/>
        </pc:sldMkLst>
        <pc:spChg chg="mod">
          <ac:chgData name="Thomas Stensitzki" userId="75cafe6b-2f2a-469b-85c4-eec3b9c972ba" providerId="ADAL" clId="{84A5A1CF-D4D8-4DEE-82E8-21007BEBD9EB}" dt="2021-11-27T13:12:15.838" v="735"/>
          <ac:spMkLst>
            <pc:docMk/>
            <pc:sldMk cId="3856037473" sldId="572"/>
            <ac:spMk id="2" creationId="{495323C2-BD50-45AA-B122-4559F104D245}"/>
          </ac:spMkLst>
        </pc:spChg>
        <pc:spChg chg="mod">
          <ac:chgData name="Thomas Stensitzki" userId="75cafe6b-2f2a-469b-85c4-eec3b9c972ba" providerId="ADAL" clId="{84A5A1CF-D4D8-4DEE-82E8-21007BEBD9EB}" dt="2021-11-27T13:12:50.635" v="784" actId="20577"/>
          <ac:spMkLst>
            <pc:docMk/>
            <pc:sldMk cId="3856037473" sldId="572"/>
            <ac:spMk id="3" creationId="{17DF15F4-B4D1-4236-A83C-34FFD863A5BF}"/>
          </ac:spMkLst>
        </pc:spChg>
      </pc:sldChg>
      <pc:sldChg chg="modSp add mod ord modTransition">
        <pc:chgData name="Thomas Stensitzki" userId="75cafe6b-2f2a-469b-85c4-eec3b9c972ba" providerId="ADAL" clId="{84A5A1CF-D4D8-4DEE-82E8-21007BEBD9EB}" dt="2021-12-02T10:39:38.576" v="2664"/>
        <pc:sldMkLst>
          <pc:docMk/>
          <pc:sldMk cId="438806011" sldId="573"/>
        </pc:sldMkLst>
        <pc:spChg chg="mod">
          <ac:chgData name="Thomas Stensitzki" userId="75cafe6b-2f2a-469b-85c4-eec3b9c972ba" providerId="ADAL" clId="{84A5A1CF-D4D8-4DEE-82E8-21007BEBD9EB}" dt="2021-11-27T14:18:21.321" v="1991" actId="1035"/>
          <ac:spMkLst>
            <pc:docMk/>
            <pc:sldMk cId="438806011" sldId="573"/>
            <ac:spMk id="2" creationId="{909DC09D-B9A6-4493-9A72-1CA7ECB1F5CA}"/>
          </ac:spMkLst>
        </pc:spChg>
        <pc:spChg chg="mod">
          <ac:chgData name="Thomas Stensitzki" userId="75cafe6b-2f2a-469b-85c4-eec3b9c972ba" providerId="ADAL" clId="{84A5A1CF-D4D8-4DEE-82E8-21007BEBD9EB}" dt="2021-11-27T14:18:39.369" v="2028" actId="20577"/>
          <ac:spMkLst>
            <pc:docMk/>
            <pc:sldMk cId="438806011" sldId="573"/>
            <ac:spMk id="5" creationId="{C24DACB5-1BEC-4C86-9652-BAFD8DE56FEF}"/>
          </ac:spMkLst>
        </pc:spChg>
      </pc:sldChg>
      <pc:sldChg chg="addSp delSp modSp new mod modTransition modClrScheme chgLayout modNotesTx">
        <pc:chgData name="Thomas Stensitzki" userId="75cafe6b-2f2a-469b-85c4-eec3b9c972ba" providerId="ADAL" clId="{84A5A1CF-D4D8-4DEE-82E8-21007BEBD9EB}" dt="2021-11-27T14:22:00.443" v="2304"/>
        <pc:sldMkLst>
          <pc:docMk/>
          <pc:sldMk cId="1351629711" sldId="574"/>
        </pc:sldMkLst>
        <pc:spChg chg="mod ord">
          <ac:chgData name="Thomas Stensitzki" userId="75cafe6b-2f2a-469b-85c4-eec3b9c972ba" providerId="ADAL" clId="{84A5A1CF-D4D8-4DEE-82E8-21007BEBD9EB}" dt="2021-11-27T14:18:45.624" v="2030" actId="6549"/>
          <ac:spMkLst>
            <pc:docMk/>
            <pc:sldMk cId="1351629711" sldId="574"/>
            <ac:spMk id="2" creationId="{9728212F-1072-4BCA-A490-AD558DB23268}"/>
          </ac:spMkLst>
        </pc:spChg>
        <pc:spChg chg="mod ord">
          <ac:chgData name="Thomas Stensitzki" userId="75cafe6b-2f2a-469b-85c4-eec3b9c972ba" providerId="ADAL" clId="{84A5A1CF-D4D8-4DEE-82E8-21007BEBD9EB}" dt="2021-11-27T13:21:21.382" v="848" actId="113"/>
          <ac:spMkLst>
            <pc:docMk/>
            <pc:sldMk cId="1351629711" sldId="574"/>
            <ac:spMk id="3" creationId="{31CBEFE0-747F-4833-810D-9695474D8F6A}"/>
          </ac:spMkLst>
        </pc:spChg>
        <pc:spChg chg="add mod ord">
          <ac:chgData name="Thomas Stensitzki" userId="75cafe6b-2f2a-469b-85c4-eec3b9c972ba" providerId="ADAL" clId="{84A5A1CF-D4D8-4DEE-82E8-21007BEBD9EB}" dt="2021-11-27T13:21:08.889" v="844" actId="113"/>
          <ac:spMkLst>
            <pc:docMk/>
            <pc:sldMk cId="1351629711" sldId="574"/>
            <ac:spMk id="4" creationId="{14C59B38-01E9-4E02-8E06-6EF4B07F8B36}"/>
          </ac:spMkLst>
        </pc:spChg>
        <pc:spChg chg="add del">
          <ac:chgData name="Thomas Stensitzki" userId="75cafe6b-2f2a-469b-85c4-eec3b9c972ba" providerId="ADAL" clId="{84A5A1CF-D4D8-4DEE-82E8-21007BEBD9EB}" dt="2021-11-27T13:21:34.002" v="850" actId="22"/>
          <ac:spMkLst>
            <pc:docMk/>
            <pc:sldMk cId="1351629711" sldId="574"/>
            <ac:spMk id="6" creationId="{676B8897-6B3B-49B9-88E3-4D78885761B2}"/>
          </ac:spMkLst>
        </pc:spChg>
      </pc:sldChg>
      <pc:sldChg chg="addSp delSp modSp add mod modTransition">
        <pc:chgData name="Thomas Stensitzki" userId="75cafe6b-2f2a-469b-85c4-eec3b9c972ba" providerId="ADAL" clId="{84A5A1CF-D4D8-4DEE-82E8-21007BEBD9EB}" dt="2021-11-27T14:22:00.443" v="2304"/>
        <pc:sldMkLst>
          <pc:docMk/>
          <pc:sldMk cId="482620437" sldId="575"/>
        </pc:sldMkLst>
        <pc:spChg chg="mod">
          <ac:chgData name="Thomas Stensitzki" userId="75cafe6b-2f2a-469b-85c4-eec3b9c972ba" providerId="ADAL" clId="{84A5A1CF-D4D8-4DEE-82E8-21007BEBD9EB}" dt="2021-11-27T14:18:49.576" v="2032" actId="6549"/>
          <ac:spMkLst>
            <pc:docMk/>
            <pc:sldMk cId="482620437" sldId="575"/>
            <ac:spMk id="2" creationId="{9728212F-1072-4BCA-A490-AD558DB23268}"/>
          </ac:spMkLst>
        </pc:spChg>
        <pc:spChg chg="del">
          <ac:chgData name="Thomas Stensitzki" userId="75cafe6b-2f2a-469b-85c4-eec3b9c972ba" providerId="ADAL" clId="{84A5A1CF-D4D8-4DEE-82E8-21007BEBD9EB}" dt="2021-11-27T13:18:32.481" v="817" actId="478"/>
          <ac:spMkLst>
            <pc:docMk/>
            <pc:sldMk cId="482620437" sldId="575"/>
            <ac:spMk id="3" creationId="{31CBEFE0-747F-4833-810D-9695474D8F6A}"/>
          </ac:spMkLst>
        </pc:spChg>
        <pc:spChg chg="add mod">
          <ac:chgData name="Thomas Stensitzki" userId="75cafe6b-2f2a-469b-85c4-eec3b9c972ba" providerId="ADAL" clId="{84A5A1CF-D4D8-4DEE-82E8-21007BEBD9EB}" dt="2021-11-27T13:19:28.889" v="827" actId="1037"/>
          <ac:spMkLst>
            <pc:docMk/>
            <pc:sldMk cId="482620437" sldId="575"/>
            <ac:spMk id="6" creationId="{7AA5DF98-D08E-43DA-A799-AFFE73A28AFC}"/>
          </ac:spMkLst>
        </pc:spChg>
        <pc:picChg chg="add mod">
          <ac:chgData name="Thomas Stensitzki" userId="75cafe6b-2f2a-469b-85c4-eec3b9c972ba" providerId="ADAL" clId="{84A5A1CF-D4D8-4DEE-82E8-21007BEBD9EB}" dt="2021-11-27T13:18:50.598" v="821" actId="1076"/>
          <ac:picMkLst>
            <pc:docMk/>
            <pc:sldMk cId="482620437" sldId="575"/>
            <ac:picMk id="5" creationId="{8563BE4A-0E76-4FA7-B48B-5A00AF1C7DC3}"/>
          </ac:picMkLst>
        </pc:picChg>
      </pc:sldChg>
      <pc:sldChg chg="new del">
        <pc:chgData name="Thomas Stensitzki" userId="75cafe6b-2f2a-469b-85c4-eec3b9c972ba" providerId="ADAL" clId="{84A5A1CF-D4D8-4DEE-82E8-21007BEBD9EB}" dt="2021-11-27T13:18:27.046" v="815" actId="680"/>
        <pc:sldMkLst>
          <pc:docMk/>
          <pc:sldMk cId="2257481309" sldId="575"/>
        </pc:sldMkLst>
      </pc:sldChg>
      <pc:sldChg chg="addSp modSp new mod modTransition">
        <pc:chgData name="Thomas Stensitzki" userId="75cafe6b-2f2a-469b-85c4-eec3b9c972ba" providerId="ADAL" clId="{84A5A1CF-D4D8-4DEE-82E8-21007BEBD9EB}" dt="2021-11-27T14:22:00.443" v="2304"/>
        <pc:sldMkLst>
          <pc:docMk/>
          <pc:sldMk cId="1228494520" sldId="576"/>
        </pc:sldMkLst>
        <pc:spChg chg="mod">
          <ac:chgData name="Thomas Stensitzki" userId="75cafe6b-2f2a-469b-85c4-eec3b9c972ba" providerId="ADAL" clId="{84A5A1CF-D4D8-4DEE-82E8-21007BEBD9EB}" dt="2021-11-27T13:23:48.006" v="875"/>
          <ac:spMkLst>
            <pc:docMk/>
            <pc:sldMk cId="1228494520" sldId="576"/>
            <ac:spMk id="2" creationId="{310768EA-3670-4F4A-B34C-3ADC84118FE1}"/>
          </ac:spMkLst>
        </pc:spChg>
        <pc:spChg chg="mod">
          <ac:chgData name="Thomas Stensitzki" userId="75cafe6b-2f2a-469b-85c4-eec3b9c972ba" providerId="ADAL" clId="{84A5A1CF-D4D8-4DEE-82E8-21007BEBD9EB}" dt="2021-11-27T13:25:41.976" v="895" actId="6549"/>
          <ac:spMkLst>
            <pc:docMk/>
            <pc:sldMk cId="1228494520" sldId="576"/>
            <ac:spMk id="3" creationId="{758C448C-20C8-49BE-B7CD-D057B6D738D1}"/>
          </ac:spMkLst>
        </pc:spChg>
        <pc:picChg chg="add mod">
          <ac:chgData name="Thomas Stensitzki" userId="75cafe6b-2f2a-469b-85c4-eec3b9c972ba" providerId="ADAL" clId="{84A5A1CF-D4D8-4DEE-82E8-21007BEBD9EB}" dt="2021-11-27T13:25:50.832" v="896" actId="1076"/>
          <ac:picMkLst>
            <pc:docMk/>
            <pc:sldMk cId="1228494520" sldId="576"/>
            <ac:picMk id="7170" creationId="{6325F552-4266-4858-A080-7D2D25C8AB1E}"/>
          </ac:picMkLst>
        </pc:picChg>
      </pc:sldChg>
      <pc:sldChg chg="modSp new mod modTransition">
        <pc:chgData name="Thomas Stensitzki" userId="75cafe6b-2f2a-469b-85c4-eec3b9c972ba" providerId="ADAL" clId="{84A5A1CF-D4D8-4DEE-82E8-21007BEBD9EB}" dt="2021-11-27T14:22:00.443" v="2304"/>
        <pc:sldMkLst>
          <pc:docMk/>
          <pc:sldMk cId="2011711741" sldId="577"/>
        </pc:sldMkLst>
        <pc:spChg chg="mod">
          <ac:chgData name="Thomas Stensitzki" userId="75cafe6b-2f2a-469b-85c4-eec3b9c972ba" providerId="ADAL" clId="{84A5A1CF-D4D8-4DEE-82E8-21007BEBD9EB}" dt="2021-11-27T13:26:34.194" v="900"/>
          <ac:spMkLst>
            <pc:docMk/>
            <pc:sldMk cId="2011711741" sldId="577"/>
            <ac:spMk id="2" creationId="{3086C23E-9466-415E-8612-4FDDE3484362}"/>
          </ac:spMkLst>
        </pc:spChg>
        <pc:spChg chg="mod">
          <ac:chgData name="Thomas Stensitzki" userId="75cafe6b-2f2a-469b-85c4-eec3b9c972ba" providerId="ADAL" clId="{84A5A1CF-D4D8-4DEE-82E8-21007BEBD9EB}" dt="2021-11-27T13:27:11.888" v="914" actId="20577"/>
          <ac:spMkLst>
            <pc:docMk/>
            <pc:sldMk cId="2011711741" sldId="577"/>
            <ac:spMk id="3" creationId="{064F690B-35B4-4A18-8E96-226650E930C4}"/>
          </ac:spMkLst>
        </pc:spChg>
      </pc:sldChg>
      <pc:sldChg chg="modSp new mod modTransition">
        <pc:chgData name="Thomas Stensitzki" userId="75cafe6b-2f2a-469b-85c4-eec3b9c972ba" providerId="ADAL" clId="{84A5A1CF-D4D8-4DEE-82E8-21007BEBD9EB}" dt="2021-11-27T14:22:00.443" v="2304"/>
        <pc:sldMkLst>
          <pc:docMk/>
          <pc:sldMk cId="4025581486" sldId="578"/>
        </pc:sldMkLst>
        <pc:spChg chg="mod">
          <ac:chgData name="Thomas Stensitzki" userId="75cafe6b-2f2a-469b-85c4-eec3b9c972ba" providerId="ADAL" clId="{84A5A1CF-D4D8-4DEE-82E8-21007BEBD9EB}" dt="2021-11-27T13:28:30.674" v="940"/>
          <ac:spMkLst>
            <pc:docMk/>
            <pc:sldMk cId="4025581486" sldId="578"/>
            <ac:spMk id="2" creationId="{380EE23A-C0B4-406C-A0C3-EC1874345BDA}"/>
          </ac:spMkLst>
        </pc:spChg>
        <pc:spChg chg="mod">
          <ac:chgData name="Thomas Stensitzki" userId="75cafe6b-2f2a-469b-85c4-eec3b9c972ba" providerId="ADAL" clId="{84A5A1CF-D4D8-4DEE-82E8-21007BEBD9EB}" dt="2021-11-27T13:31:03.733" v="997" actId="113"/>
          <ac:spMkLst>
            <pc:docMk/>
            <pc:sldMk cId="4025581486" sldId="578"/>
            <ac:spMk id="3" creationId="{A42BE06D-DB09-454D-B09B-AB3D05988720}"/>
          </ac:spMkLst>
        </pc:spChg>
      </pc:sldChg>
      <pc:sldChg chg="addSp modSp new mod modTransition">
        <pc:chgData name="Thomas Stensitzki" userId="75cafe6b-2f2a-469b-85c4-eec3b9c972ba" providerId="ADAL" clId="{84A5A1CF-D4D8-4DEE-82E8-21007BEBD9EB}" dt="2021-11-27T14:22:00.443" v="2304"/>
        <pc:sldMkLst>
          <pc:docMk/>
          <pc:sldMk cId="3181657178" sldId="579"/>
        </pc:sldMkLst>
        <pc:spChg chg="mod">
          <ac:chgData name="Thomas Stensitzki" userId="75cafe6b-2f2a-469b-85c4-eec3b9c972ba" providerId="ADAL" clId="{84A5A1CF-D4D8-4DEE-82E8-21007BEBD9EB}" dt="2021-11-27T13:34:36.805" v="1069"/>
          <ac:spMkLst>
            <pc:docMk/>
            <pc:sldMk cId="3181657178" sldId="579"/>
            <ac:spMk id="2" creationId="{B6E494BC-BF8C-484C-B658-547E0B8A10CF}"/>
          </ac:spMkLst>
        </pc:spChg>
        <pc:spChg chg="mod">
          <ac:chgData name="Thomas Stensitzki" userId="75cafe6b-2f2a-469b-85c4-eec3b9c972ba" providerId="ADAL" clId="{84A5A1CF-D4D8-4DEE-82E8-21007BEBD9EB}" dt="2021-11-27T13:40:12.353" v="1477" actId="20577"/>
          <ac:spMkLst>
            <pc:docMk/>
            <pc:sldMk cId="3181657178" sldId="579"/>
            <ac:spMk id="3" creationId="{39F0BC76-1CDB-416F-925D-D328C9A74D2D}"/>
          </ac:spMkLst>
        </pc:spChg>
        <pc:picChg chg="add mod">
          <ac:chgData name="Thomas Stensitzki" userId="75cafe6b-2f2a-469b-85c4-eec3b9c972ba" providerId="ADAL" clId="{84A5A1CF-D4D8-4DEE-82E8-21007BEBD9EB}" dt="2021-11-27T13:36:19.627" v="1130" actId="1440"/>
          <ac:picMkLst>
            <pc:docMk/>
            <pc:sldMk cId="3181657178" sldId="579"/>
            <ac:picMk id="8194" creationId="{F25E017B-D8E9-4FDD-8ED2-75D851475C1B}"/>
          </ac:picMkLst>
        </pc:picChg>
      </pc:sldChg>
      <pc:sldChg chg="modSp add mod ord modTransition">
        <pc:chgData name="Thomas Stensitzki" userId="75cafe6b-2f2a-469b-85c4-eec3b9c972ba" providerId="ADAL" clId="{84A5A1CF-D4D8-4DEE-82E8-21007BEBD9EB}" dt="2021-11-27T14:24:13.468" v="2474" actId="14100"/>
        <pc:sldMkLst>
          <pc:docMk/>
          <pc:sldMk cId="324323579" sldId="580"/>
        </pc:sldMkLst>
        <pc:spChg chg="mod">
          <ac:chgData name="Thomas Stensitzki" userId="75cafe6b-2f2a-469b-85c4-eec3b9c972ba" providerId="ADAL" clId="{84A5A1CF-D4D8-4DEE-82E8-21007BEBD9EB}" dt="2021-11-27T14:24:13.468" v="2474" actId="14100"/>
          <ac:spMkLst>
            <pc:docMk/>
            <pc:sldMk cId="324323579" sldId="580"/>
            <ac:spMk id="2" creationId="{909DC09D-B9A6-4493-9A72-1CA7ECB1F5CA}"/>
          </ac:spMkLst>
        </pc:spChg>
        <pc:spChg chg="mod">
          <ac:chgData name="Thomas Stensitzki" userId="75cafe6b-2f2a-469b-85c4-eec3b9c972ba" providerId="ADAL" clId="{84A5A1CF-D4D8-4DEE-82E8-21007BEBD9EB}" dt="2021-11-27T14:15:25.778" v="1957" actId="255"/>
          <ac:spMkLst>
            <pc:docMk/>
            <pc:sldMk cId="324323579" sldId="580"/>
            <ac:spMk id="5" creationId="{C24DACB5-1BEC-4C86-9652-BAFD8DE56FEF}"/>
          </ac:spMkLst>
        </pc:spChg>
      </pc:sldChg>
      <pc:sldChg chg="modSp new mod modTransition">
        <pc:chgData name="Thomas Stensitzki" userId="75cafe6b-2f2a-469b-85c4-eec3b9c972ba" providerId="ADAL" clId="{84A5A1CF-D4D8-4DEE-82E8-21007BEBD9EB}" dt="2021-11-27T14:22:00.443" v="2304"/>
        <pc:sldMkLst>
          <pc:docMk/>
          <pc:sldMk cId="3981601369" sldId="581"/>
        </pc:sldMkLst>
        <pc:spChg chg="mod">
          <ac:chgData name="Thomas Stensitzki" userId="75cafe6b-2f2a-469b-85c4-eec3b9c972ba" providerId="ADAL" clId="{84A5A1CF-D4D8-4DEE-82E8-21007BEBD9EB}" dt="2021-11-27T13:47:10.439" v="1595"/>
          <ac:spMkLst>
            <pc:docMk/>
            <pc:sldMk cId="3981601369" sldId="581"/>
            <ac:spMk id="2" creationId="{D00A5901-5A14-4C11-A979-39E48CD7D350}"/>
          </ac:spMkLst>
        </pc:spChg>
        <pc:spChg chg="mod">
          <ac:chgData name="Thomas Stensitzki" userId="75cafe6b-2f2a-469b-85c4-eec3b9c972ba" providerId="ADAL" clId="{84A5A1CF-D4D8-4DEE-82E8-21007BEBD9EB}" dt="2021-11-27T13:49:07.237" v="1624" actId="6549"/>
          <ac:spMkLst>
            <pc:docMk/>
            <pc:sldMk cId="3981601369" sldId="581"/>
            <ac:spMk id="3" creationId="{D8005E1A-1EF7-4C37-9FB0-E65A8BB83E31}"/>
          </ac:spMkLst>
        </pc:spChg>
      </pc:sldChg>
      <pc:sldChg chg="addSp modSp new mod modTransition">
        <pc:chgData name="Thomas Stensitzki" userId="75cafe6b-2f2a-469b-85c4-eec3b9c972ba" providerId="ADAL" clId="{84A5A1CF-D4D8-4DEE-82E8-21007BEBD9EB}" dt="2021-11-27T14:22:00.443" v="2304"/>
        <pc:sldMkLst>
          <pc:docMk/>
          <pc:sldMk cId="2226521450" sldId="582"/>
        </pc:sldMkLst>
        <pc:spChg chg="mod">
          <ac:chgData name="Thomas Stensitzki" userId="75cafe6b-2f2a-469b-85c4-eec3b9c972ba" providerId="ADAL" clId="{84A5A1CF-D4D8-4DEE-82E8-21007BEBD9EB}" dt="2021-11-27T13:50:49.437" v="1650"/>
          <ac:spMkLst>
            <pc:docMk/>
            <pc:sldMk cId="2226521450" sldId="582"/>
            <ac:spMk id="2" creationId="{E510326A-15EA-4CFB-A51E-E2462B207D51}"/>
          </ac:spMkLst>
        </pc:spChg>
        <pc:spChg chg="mod">
          <ac:chgData name="Thomas Stensitzki" userId="75cafe6b-2f2a-469b-85c4-eec3b9c972ba" providerId="ADAL" clId="{84A5A1CF-D4D8-4DEE-82E8-21007BEBD9EB}" dt="2021-11-27T13:59:02.148" v="1719" actId="20577"/>
          <ac:spMkLst>
            <pc:docMk/>
            <pc:sldMk cId="2226521450" sldId="582"/>
            <ac:spMk id="3" creationId="{825B01B9-674E-4EFE-BF44-7F89DD460473}"/>
          </ac:spMkLst>
        </pc:spChg>
        <pc:picChg chg="add mod">
          <ac:chgData name="Thomas Stensitzki" userId="75cafe6b-2f2a-469b-85c4-eec3b9c972ba" providerId="ADAL" clId="{84A5A1CF-D4D8-4DEE-82E8-21007BEBD9EB}" dt="2021-11-27T13:52:20.844" v="1655" actId="1076"/>
          <ac:picMkLst>
            <pc:docMk/>
            <pc:sldMk cId="2226521450" sldId="582"/>
            <ac:picMk id="9218" creationId="{F32A7A4F-EEBC-4AAB-8FF2-5C8EA01285B5}"/>
          </ac:picMkLst>
        </pc:picChg>
      </pc:sldChg>
      <pc:sldChg chg="addSp delSp modSp new mod modTransition">
        <pc:chgData name="Thomas Stensitzki" userId="75cafe6b-2f2a-469b-85c4-eec3b9c972ba" providerId="ADAL" clId="{84A5A1CF-D4D8-4DEE-82E8-21007BEBD9EB}" dt="2021-11-27T14:22:00.443" v="2304"/>
        <pc:sldMkLst>
          <pc:docMk/>
          <pc:sldMk cId="3960845148" sldId="583"/>
        </pc:sldMkLst>
        <pc:spChg chg="mod">
          <ac:chgData name="Thomas Stensitzki" userId="75cafe6b-2f2a-469b-85c4-eec3b9c972ba" providerId="ADAL" clId="{84A5A1CF-D4D8-4DEE-82E8-21007BEBD9EB}" dt="2021-11-27T14:00:01.801" v="1736"/>
          <ac:spMkLst>
            <pc:docMk/>
            <pc:sldMk cId="3960845148" sldId="583"/>
            <ac:spMk id="2" creationId="{2C33EC19-EF1B-41DC-A69D-69296D41BFDC}"/>
          </ac:spMkLst>
        </pc:spChg>
        <pc:spChg chg="del">
          <ac:chgData name="Thomas Stensitzki" userId="75cafe6b-2f2a-469b-85c4-eec3b9c972ba" providerId="ADAL" clId="{84A5A1CF-D4D8-4DEE-82E8-21007BEBD9EB}" dt="2021-11-27T14:00:58.436" v="1737" actId="478"/>
          <ac:spMkLst>
            <pc:docMk/>
            <pc:sldMk cId="3960845148" sldId="583"/>
            <ac:spMk id="3" creationId="{6AC854B4-3E15-4DEA-94EB-BE6DFCD6C2B4}"/>
          </ac:spMkLst>
        </pc:spChg>
        <pc:spChg chg="add del">
          <ac:chgData name="Thomas Stensitzki" userId="75cafe6b-2f2a-469b-85c4-eec3b9c972ba" providerId="ADAL" clId="{84A5A1CF-D4D8-4DEE-82E8-21007BEBD9EB}" dt="2021-11-27T14:01:25.865" v="1742" actId="22"/>
          <ac:spMkLst>
            <pc:docMk/>
            <pc:sldMk cId="3960845148" sldId="583"/>
            <ac:spMk id="6" creationId="{9ABAD5F7-2C1E-423F-8D88-1E7CCF0E5745}"/>
          </ac:spMkLst>
        </pc:spChg>
        <pc:picChg chg="add mod">
          <ac:chgData name="Thomas Stensitzki" userId="75cafe6b-2f2a-469b-85c4-eec3b9c972ba" providerId="ADAL" clId="{84A5A1CF-D4D8-4DEE-82E8-21007BEBD9EB}" dt="2021-11-27T14:03:09.383" v="1762" actId="1076"/>
          <ac:picMkLst>
            <pc:docMk/>
            <pc:sldMk cId="3960845148" sldId="583"/>
            <ac:picMk id="10242" creationId="{35481FB9-A468-46B6-90EC-7BE012AD9AAD}"/>
          </ac:picMkLst>
        </pc:picChg>
        <pc:picChg chg="add mod">
          <ac:chgData name="Thomas Stensitzki" userId="75cafe6b-2f2a-469b-85c4-eec3b9c972ba" providerId="ADAL" clId="{84A5A1CF-D4D8-4DEE-82E8-21007BEBD9EB}" dt="2021-11-27T14:03:05.684" v="1761" actId="1076"/>
          <ac:picMkLst>
            <pc:docMk/>
            <pc:sldMk cId="3960845148" sldId="583"/>
            <ac:picMk id="10244" creationId="{8DE094ED-4133-41B2-BAD9-43DF77C01DA5}"/>
          </ac:picMkLst>
        </pc:picChg>
        <pc:picChg chg="add mod">
          <ac:chgData name="Thomas Stensitzki" userId="75cafe6b-2f2a-469b-85c4-eec3b9c972ba" providerId="ADAL" clId="{84A5A1CF-D4D8-4DEE-82E8-21007BEBD9EB}" dt="2021-11-27T14:02:58.642" v="1760" actId="1076"/>
          <ac:picMkLst>
            <pc:docMk/>
            <pc:sldMk cId="3960845148" sldId="583"/>
            <ac:picMk id="10246" creationId="{430198DE-2A61-4713-9F9D-B06C4E4F7399}"/>
          </ac:picMkLst>
        </pc:picChg>
      </pc:sldChg>
      <pc:sldChg chg="modSp add mod ord modTransition">
        <pc:chgData name="Thomas Stensitzki" userId="75cafe6b-2f2a-469b-85c4-eec3b9c972ba" providerId="ADAL" clId="{84A5A1CF-D4D8-4DEE-82E8-21007BEBD9EB}" dt="2021-11-27T14:22:00.443" v="2304"/>
        <pc:sldMkLst>
          <pc:docMk/>
          <pc:sldMk cId="2871808218" sldId="584"/>
        </pc:sldMkLst>
        <pc:spChg chg="mod">
          <ac:chgData name="Thomas Stensitzki" userId="75cafe6b-2f2a-469b-85c4-eec3b9c972ba" providerId="ADAL" clId="{84A5A1CF-D4D8-4DEE-82E8-21007BEBD9EB}" dt="2021-11-27T14:17:12.281" v="1975" actId="14100"/>
          <ac:spMkLst>
            <pc:docMk/>
            <pc:sldMk cId="2871808218" sldId="584"/>
            <ac:spMk id="2" creationId="{909DC09D-B9A6-4493-9A72-1CA7ECB1F5CA}"/>
          </ac:spMkLst>
        </pc:spChg>
        <pc:spChg chg="mod">
          <ac:chgData name="Thomas Stensitzki" userId="75cafe6b-2f2a-469b-85c4-eec3b9c972ba" providerId="ADAL" clId="{84A5A1CF-D4D8-4DEE-82E8-21007BEBD9EB}" dt="2021-11-27T14:17:07.632" v="1974" actId="20577"/>
          <ac:spMkLst>
            <pc:docMk/>
            <pc:sldMk cId="2871808218" sldId="584"/>
            <ac:spMk id="5" creationId="{C24DACB5-1BEC-4C86-9652-BAFD8DE56FEF}"/>
          </ac:spMkLst>
        </pc:spChg>
      </pc:sldChg>
      <pc:sldChg chg="addSp modSp new mod modTransition">
        <pc:chgData name="Thomas Stensitzki" userId="75cafe6b-2f2a-469b-85c4-eec3b9c972ba" providerId="ADAL" clId="{84A5A1CF-D4D8-4DEE-82E8-21007BEBD9EB}" dt="2021-11-27T14:22:00.443" v="2304"/>
        <pc:sldMkLst>
          <pc:docMk/>
          <pc:sldMk cId="180834030" sldId="585"/>
        </pc:sldMkLst>
        <pc:spChg chg="mod">
          <ac:chgData name="Thomas Stensitzki" userId="75cafe6b-2f2a-469b-85c4-eec3b9c972ba" providerId="ADAL" clId="{84A5A1CF-D4D8-4DEE-82E8-21007BEBD9EB}" dt="2021-11-27T14:07:09.424" v="1824"/>
          <ac:spMkLst>
            <pc:docMk/>
            <pc:sldMk cId="180834030" sldId="585"/>
            <ac:spMk id="2" creationId="{E8DB5779-710D-47B7-BEE0-A2BD7EFC4B91}"/>
          </ac:spMkLst>
        </pc:spChg>
        <pc:spChg chg="mod">
          <ac:chgData name="Thomas Stensitzki" userId="75cafe6b-2f2a-469b-85c4-eec3b9c972ba" providerId="ADAL" clId="{84A5A1CF-D4D8-4DEE-82E8-21007BEBD9EB}" dt="2021-11-27T14:07:42.191" v="1871" actId="20577"/>
          <ac:spMkLst>
            <pc:docMk/>
            <pc:sldMk cId="180834030" sldId="585"/>
            <ac:spMk id="3" creationId="{B9A288B9-3A87-4AE9-A4F2-653B4EF45367}"/>
          </ac:spMkLst>
        </pc:spChg>
        <pc:picChg chg="add mod">
          <ac:chgData name="Thomas Stensitzki" userId="75cafe6b-2f2a-469b-85c4-eec3b9c972ba" providerId="ADAL" clId="{84A5A1CF-D4D8-4DEE-82E8-21007BEBD9EB}" dt="2021-11-27T14:08:13.808" v="1876" actId="1440"/>
          <ac:picMkLst>
            <pc:docMk/>
            <pc:sldMk cId="180834030" sldId="585"/>
            <ac:picMk id="11266" creationId="{274DE652-CAF4-45CE-B60A-B83D8A719A2C}"/>
          </ac:picMkLst>
        </pc:picChg>
      </pc:sldChg>
      <pc:sldChg chg="addSp delSp modSp new mod modTransition">
        <pc:chgData name="Thomas Stensitzki" userId="75cafe6b-2f2a-469b-85c4-eec3b9c972ba" providerId="ADAL" clId="{84A5A1CF-D4D8-4DEE-82E8-21007BEBD9EB}" dt="2021-11-27T14:22:00.443" v="2304"/>
        <pc:sldMkLst>
          <pc:docMk/>
          <pc:sldMk cId="3096191333" sldId="586"/>
        </pc:sldMkLst>
        <pc:spChg chg="mod">
          <ac:chgData name="Thomas Stensitzki" userId="75cafe6b-2f2a-469b-85c4-eec3b9c972ba" providerId="ADAL" clId="{84A5A1CF-D4D8-4DEE-82E8-21007BEBD9EB}" dt="2021-11-27T14:11:38.062" v="1920"/>
          <ac:spMkLst>
            <pc:docMk/>
            <pc:sldMk cId="3096191333" sldId="586"/>
            <ac:spMk id="2" creationId="{78748F36-1DF5-41F2-9E1C-0A31A41DB543}"/>
          </ac:spMkLst>
        </pc:spChg>
        <pc:spChg chg="del">
          <ac:chgData name="Thomas Stensitzki" userId="75cafe6b-2f2a-469b-85c4-eec3b9c972ba" providerId="ADAL" clId="{84A5A1CF-D4D8-4DEE-82E8-21007BEBD9EB}" dt="2021-11-27T14:11:40.732" v="1921" actId="478"/>
          <ac:spMkLst>
            <pc:docMk/>
            <pc:sldMk cId="3096191333" sldId="586"/>
            <ac:spMk id="3" creationId="{3CF01E57-C6F5-4DDA-9DDB-1EFFE2DB8090}"/>
          </ac:spMkLst>
        </pc:spChg>
        <pc:picChg chg="add mod">
          <ac:chgData name="Thomas Stensitzki" userId="75cafe6b-2f2a-469b-85c4-eec3b9c972ba" providerId="ADAL" clId="{84A5A1CF-D4D8-4DEE-82E8-21007BEBD9EB}" dt="2021-11-27T14:12:10.837" v="1929" actId="1440"/>
          <ac:picMkLst>
            <pc:docMk/>
            <pc:sldMk cId="3096191333" sldId="586"/>
            <ac:picMk id="12290" creationId="{57FE6E95-E038-4854-B045-ADEB442E203A}"/>
          </ac:picMkLst>
        </pc:picChg>
      </pc:sldChg>
      <pc:sldChg chg="modSp add mod modTransition">
        <pc:chgData name="Thomas Stensitzki" userId="75cafe6b-2f2a-469b-85c4-eec3b9c972ba" providerId="ADAL" clId="{84A5A1CF-D4D8-4DEE-82E8-21007BEBD9EB}" dt="2021-11-27T14:22:00.443" v="2304"/>
        <pc:sldMkLst>
          <pc:docMk/>
          <pc:sldMk cId="3386111181" sldId="587"/>
        </pc:sldMkLst>
        <pc:spChg chg="mod">
          <ac:chgData name="Thomas Stensitzki" userId="75cafe6b-2f2a-469b-85c4-eec3b9c972ba" providerId="ADAL" clId="{84A5A1CF-D4D8-4DEE-82E8-21007BEBD9EB}" dt="2021-11-27T14:17:22.057" v="1978" actId="14100"/>
          <ac:spMkLst>
            <pc:docMk/>
            <pc:sldMk cId="3386111181" sldId="587"/>
            <ac:spMk id="2" creationId="{909DC09D-B9A6-4493-9A72-1CA7ECB1F5CA}"/>
          </ac:spMkLst>
        </pc:spChg>
      </pc:sldChg>
      <pc:sldChg chg="modSp add mod modTransition">
        <pc:chgData name="Thomas Stensitzki" userId="75cafe6b-2f2a-469b-85c4-eec3b9c972ba" providerId="ADAL" clId="{84A5A1CF-D4D8-4DEE-82E8-21007BEBD9EB}" dt="2021-11-27T14:22:00.443" v="2304"/>
        <pc:sldMkLst>
          <pc:docMk/>
          <pc:sldMk cId="3088514375" sldId="588"/>
        </pc:sldMkLst>
        <pc:spChg chg="mod">
          <ac:chgData name="Thomas Stensitzki" userId="75cafe6b-2f2a-469b-85c4-eec3b9c972ba" providerId="ADAL" clId="{84A5A1CF-D4D8-4DEE-82E8-21007BEBD9EB}" dt="2021-11-27T14:18:32.281" v="2024" actId="1035"/>
          <ac:spMkLst>
            <pc:docMk/>
            <pc:sldMk cId="3088514375" sldId="588"/>
            <ac:spMk id="2" creationId="{909DC09D-B9A6-4493-9A72-1CA7ECB1F5CA}"/>
          </ac:spMkLst>
        </pc:spChg>
        <pc:spChg chg="mod">
          <ac:chgData name="Thomas Stensitzki" userId="75cafe6b-2f2a-469b-85c4-eec3b9c972ba" providerId="ADAL" clId="{84A5A1CF-D4D8-4DEE-82E8-21007BEBD9EB}" dt="2021-11-27T14:18:35.407" v="2026" actId="20577"/>
          <ac:spMkLst>
            <pc:docMk/>
            <pc:sldMk cId="3088514375" sldId="588"/>
            <ac:spMk id="5" creationId="{C24DACB5-1BEC-4C86-9652-BAFD8DE56FEF}"/>
          </ac:spMkLst>
        </pc:spChg>
      </pc:sldChg>
      <pc:sldChg chg="modSp add mod ord modTransition">
        <pc:chgData name="Thomas Stensitzki" userId="75cafe6b-2f2a-469b-85c4-eec3b9c972ba" providerId="ADAL" clId="{84A5A1CF-D4D8-4DEE-82E8-21007BEBD9EB}" dt="2021-11-27T14:22:00.443" v="2304"/>
        <pc:sldMkLst>
          <pc:docMk/>
          <pc:sldMk cId="1790374027" sldId="589"/>
        </pc:sldMkLst>
        <pc:spChg chg="mod">
          <ac:chgData name="Thomas Stensitzki" userId="75cafe6b-2f2a-469b-85c4-eec3b9c972ba" providerId="ADAL" clId="{84A5A1CF-D4D8-4DEE-82E8-21007BEBD9EB}" dt="2021-11-27T14:19:04.818" v="2059" actId="1035"/>
          <ac:spMkLst>
            <pc:docMk/>
            <pc:sldMk cId="1790374027" sldId="589"/>
            <ac:spMk id="2" creationId="{909DC09D-B9A6-4493-9A72-1CA7ECB1F5CA}"/>
          </ac:spMkLst>
        </pc:spChg>
      </pc:sldChg>
      <pc:sldChg chg="modSp add mod modTransition">
        <pc:chgData name="Thomas Stensitzki" userId="75cafe6b-2f2a-469b-85c4-eec3b9c972ba" providerId="ADAL" clId="{84A5A1CF-D4D8-4DEE-82E8-21007BEBD9EB}" dt="2021-11-27T14:22:00.443" v="2304"/>
        <pc:sldMkLst>
          <pc:docMk/>
          <pc:sldMk cId="918908708" sldId="590"/>
        </pc:sldMkLst>
        <pc:spChg chg="mod">
          <ac:chgData name="Thomas Stensitzki" userId="75cafe6b-2f2a-469b-85c4-eec3b9c972ba" providerId="ADAL" clId="{84A5A1CF-D4D8-4DEE-82E8-21007BEBD9EB}" dt="2021-11-27T14:19:38.173" v="2125" actId="14100"/>
          <ac:spMkLst>
            <pc:docMk/>
            <pc:sldMk cId="918908708" sldId="590"/>
            <ac:spMk id="2" creationId="{909DC09D-B9A6-4493-9A72-1CA7ECB1F5CA}"/>
          </ac:spMkLst>
        </pc:spChg>
      </pc:sldChg>
      <pc:sldChg chg="modSp add mod modTransition">
        <pc:chgData name="Thomas Stensitzki" userId="75cafe6b-2f2a-469b-85c4-eec3b9c972ba" providerId="ADAL" clId="{84A5A1CF-D4D8-4DEE-82E8-21007BEBD9EB}" dt="2021-11-27T14:22:00.443" v="2304"/>
        <pc:sldMkLst>
          <pc:docMk/>
          <pc:sldMk cId="454032179" sldId="591"/>
        </pc:sldMkLst>
        <pc:spChg chg="mod">
          <ac:chgData name="Thomas Stensitzki" userId="75cafe6b-2f2a-469b-85c4-eec3b9c972ba" providerId="ADAL" clId="{84A5A1CF-D4D8-4DEE-82E8-21007BEBD9EB}" dt="2021-11-27T14:19:25.306" v="2099" actId="1036"/>
          <ac:spMkLst>
            <pc:docMk/>
            <pc:sldMk cId="454032179" sldId="591"/>
            <ac:spMk id="2" creationId="{909DC09D-B9A6-4493-9A72-1CA7ECB1F5CA}"/>
          </ac:spMkLst>
        </pc:spChg>
      </pc:sldChg>
      <pc:sldChg chg="modSp add mod ord modTransition">
        <pc:chgData name="Thomas Stensitzki" userId="75cafe6b-2f2a-469b-85c4-eec3b9c972ba" providerId="ADAL" clId="{84A5A1CF-D4D8-4DEE-82E8-21007BEBD9EB}" dt="2021-11-27T14:22:00.443" v="2304"/>
        <pc:sldMkLst>
          <pc:docMk/>
          <pc:sldMk cId="999287501" sldId="592"/>
        </pc:sldMkLst>
        <pc:spChg chg="mod">
          <ac:chgData name="Thomas Stensitzki" userId="75cafe6b-2f2a-469b-85c4-eec3b9c972ba" providerId="ADAL" clId="{84A5A1CF-D4D8-4DEE-82E8-21007BEBD9EB}" dt="2021-11-27T14:20:44.068" v="2152" actId="14100"/>
          <ac:spMkLst>
            <pc:docMk/>
            <pc:sldMk cId="999287501" sldId="592"/>
            <ac:spMk id="2" creationId="{909DC09D-B9A6-4493-9A72-1CA7ECB1F5CA}"/>
          </ac:spMkLst>
        </pc:spChg>
      </pc:sldChg>
      <pc:sldChg chg="modSp add mod ord modTransition">
        <pc:chgData name="Thomas Stensitzki" userId="75cafe6b-2f2a-469b-85c4-eec3b9c972ba" providerId="ADAL" clId="{84A5A1CF-D4D8-4DEE-82E8-21007BEBD9EB}" dt="2021-11-27T14:22:00.443" v="2304"/>
        <pc:sldMkLst>
          <pc:docMk/>
          <pc:sldMk cId="216933282" sldId="593"/>
        </pc:sldMkLst>
        <pc:spChg chg="mod">
          <ac:chgData name="Thomas Stensitzki" userId="75cafe6b-2f2a-469b-85c4-eec3b9c972ba" providerId="ADAL" clId="{84A5A1CF-D4D8-4DEE-82E8-21007BEBD9EB}" dt="2021-11-27T14:21:02.006" v="2205" actId="1036"/>
          <ac:spMkLst>
            <pc:docMk/>
            <pc:sldMk cId="216933282" sldId="593"/>
            <ac:spMk id="2" creationId="{909DC09D-B9A6-4493-9A72-1CA7ECB1F5CA}"/>
          </ac:spMkLst>
        </pc:spChg>
      </pc:sldChg>
      <pc:sldChg chg="modSp add mod ord modTransition">
        <pc:chgData name="Thomas Stensitzki" userId="75cafe6b-2f2a-469b-85c4-eec3b9c972ba" providerId="ADAL" clId="{84A5A1CF-D4D8-4DEE-82E8-21007BEBD9EB}" dt="2021-11-27T14:22:00.443" v="2304"/>
        <pc:sldMkLst>
          <pc:docMk/>
          <pc:sldMk cId="1858708233" sldId="594"/>
        </pc:sldMkLst>
        <pc:spChg chg="mod">
          <ac:chgData name="Thomas Stensitzki" userId="75cafe6b-2f2a-469b-85c4-eec3b9c972ba" providerId="ADAL" clId="{84A5A1CF-D4D8-4DEE-82E8-21007BEBD9EB}" dt="2021-11-27T14:21:20.618" v="2228" actId="14100"/>
          <ac:spMkLst>
            <pc:docMk/>
            <pc:sldMk cId="1858708233" sldId="594"/>
            <ac:spMk id="2" creationId="{909DC09D-B9A6-4493-9A72-1CA7ECB1F5CA}"/>
          </ac:spMkLst>
        </pc:spChg>
      </pc:sldChg>
      <pc:sldChg chg="modSp add mod ord modTransition">
        <pc:chgData name="Thomas Stensitzki" userId="75cafe6b-2f2a-469b-85c4-eec3b9c972ba" providerId="ADAL" clId="{84A5A1CF-D4D8-4DEE-82E8-21007BEBD9EB}" dt="2021-11-27T14:22:00.443" v="2304"/>
        <pc:sldMkLst>
          <pc:docMk/>
          <pc:sldMk cId="3220276594" sldId="595"/>
        </pc:sldMkLst>
        <pc:spChg chg="mod">
          <ac:chgData name="Thomas Stensitzki" userId="75cafe6b-2f2a-469b-85c4-eec3b9c972ba" providerId="ADAL" clId="{84A5A1CF-D4D8-4DEE-82E8-21007BEBD9EB}" dt="2021-11-27T14:21:33.092" v="2262" actId="1036"/>
          <ac:spMkLst>
            <pc:docMk/>
            <pc:sldMk cId="3220276594" sldId="595"/>
            <ac:spMk id="2" creationId="{909DC09D-B9A6-4493-9A72-1CA7ECB1F5CA}"/>
          </ac:spMkLst>
        </pc:spChg>
      </pc:sldChg>
      <pc:sldChg chg="modSp add mod modTransition">
        <pc:chgData name="Thomas Stensitzki" userId="75cafe6b-2f2a-469b-85c4-eec3b9c972ba" providerId="ADAL" clId="{84A5A1CF-D4D8-4DEE-82E8-21007BEBD9EB}" dt="2021-11-27T14:22:00.443" v="2304"/>
        <pc:sldMkLst>
          <pc:docMk/>
          <pc:sldMk cId="1052203246" sldId="596"/>
        </pc:sldMkLst>
        <pc:spChg chg="mod">
          <ac:chgData name="Thomas Stensitzki" userId="75cafe6b-2f2a-469b-85c4-eec3b9c972ba" providerId="ADAL" clId="{84A5A1CF-D4D8-4DEE-82E8-21007BEBD9EB}" dt="2021-11-27T14:21:43.352" v="2283" actId="1035"/>
          <ac:spMkLst>
            <pc:docMk/>
            <pc:sldMk cId="1052203246" sldId="596"/>
            <ac:spMk id="2" creationId="{909DC09D-B9A6-4493-9A72-1CA7ECB1F5CA}"/>
          </ac:spMkLst>
        </pc:spChg>
      </pc:sldChg>
      <pc:sldChg chg="modSp add mod ord modTransition">
        <pc:chgData name="Thomas Stensitzki" userId="75cafe6b-2f2a-469b-85c4-eec3b9c972ba" providerId="ADAL" clId="{84A5A1CF-D4D8-4DEE-82E8-21007BEBD9EB}" dt="2021-11-27T14:22:00.443" v="2304"/>
        <pc:sldMkLst>
          <pc:docMk/>
          <pc:sldMk cId="3073976506" sldId="597"/>
        </pc:sldMkLst>
        <pc:spChg chg="mod">
          <ac:chgData name="Thomas Stensitzki" userId="75cafe6b-2f2a-469b-85c4-eec3b9c972ba" providerId="ADAL" clId="{84A5A1CF-D4D8-4DEE-82E8-21007BEBD9EB}" dt="2021-11-27T14:21:54.762" v="2303" actId="1036"/>
          <ac:spMkLst>
            <pc:docMk/>
            <pc:sldMk cId="3073976506" sldId="597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84A5A1CF-D4D8-4DEE-82E8-21007BEBD9EB}" dt="2021-11-27T14:22:54.095" v="2334" actId="1036"/>
        <pc:sldMkLst>
          <pc:docMk/>
          <pc:sldMk cId="1359738840" sldId="598"/>
        </pc:sldMkLst>
        <pc:spChg chg="mod">
          <ac:chgData name="Thomas Stensitzki" userId="75cafe6b-2f2a-469b-85c4-eec3b9c972ba" providerId="ADAL" clId="{84A5A1CF-D4D8-4DEE-82E8-21007BEBD9EB}" dt="2021-11-27T14:22:54.095" v="2334" actId="1036"/>
          <ac:spMkLst>
            <pc:docMk/>
            <pc:sldMk cId="1359738840" sldId="598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84A5A1CF-D4D8-4DEE-82E8-21007BEBD9EB}" dt="2021-11-27T14:23:05.860" v="2358" actId="1035"/>
        <pc:sldMkLst>
          <pc:docMk/>
          <pc:sldMk cId="497042959" sldId="599"/>
        </pc:sldMkLst>
        <pc:spChg chg="mod">
          <ac:chgData name="Thomas Stensitzki" userId="75cafe6b-2f2a-469b-85c4-eec3b9c972ba" providerId="ADAL" clId="{84A5A1CF-D4D8-4DEE-82E8-21007BEBD9EB}" dt="2021-11-27T14:23:05.860" v="2358" actId="1035"/>
          <ac:spMkLst>
            <pc:docMk/>
            <pc:sldMk cId="497042959" sldId="599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84A5A1CF-D4D8-4DEE-82E8-21007BEBD9EB}" dt="2021-11-27T14:23:20.736" v="2397" actId="1036"/>
        <pc:sldMkLst>
          <pc:docMk/>
          <pc:sldMk cId="3647128677" sldId="600"/>
        </pc:sldMkLst>
        <pc:spChg chg="mod">
          <ac:chgData name="Thomas Stensitzki" userId="75cafe6b-2f2a-469b-85c4-eec3b9c972ba" providerId="ADAL" clId="{84A5A1CF-D4D8-4DEE-82E8-21007BEBD9EB}" dt="2021-11-27T14:23:20.736" v="2397" actId="1036"/>
          <ac:spMkLst>
            <pc:docMk/>
            <pc:sldMk cId="3647128677" sldId="600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84A5A1CF-D4D8-4DEE-82E8-21007BEBD9EB}" dt="2021-11-27T14:23:30.821" v="2425" actId="1035"/>
        <pc:sldMkLst>
          <pc:docMk/>
          <pc:sldMk cId="2742369230" sldId="601"/>
        </pc:sldMkLst>
        <pc:spChg chg="mod">
          <ac:chgData name="Thomas Stensitzki" userId="75cafe6b-2f2a-469b-85c4-eec3b9c972ba" providerId="ADAL" clId="{84A5A1CF-D4D8-4DEE-82E8-21007BEBD9EB}" dt="2021-11-27T14:23:30.821" v="2425" actId="1035"/>
          <ac:spMkLst>
            <pc:docMk/>
            <pc:sldMk cId="2742369230" sldId="601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84A5A1CF-D4D8-4DEE-82E8-21007BEBD9EB}" dt="2021-11-27T14:23:41.830" v="2446" actId="1036"/>
        <pc:sldMkLst>
          <pc:docMk/>
          <pc:sldMk cId="525318874" sldId="602"/>
        </pc:sldMkLst>
        <pc:spChg chg="mod">
          <ac:chgData name="Thomas Stensitzki" userId="75cafe6b-2f2a-469b-85c4-eec3b9c972ba" providerId="ADAL" clId="{84A5A1CF-D4D8-4DEE-82E8-21007BEBD9EB}" dt="2021-11-27T14:23:41.830" v="2446" actId="1036"/>
          <ac:spMkLst>
            <pc:docMk/>
            <pc:sldMk cId="525318874" sldId="602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84A5A1CF-D4D8-4DEE-82E8-21007BEBD9EB}" dt="2021-11-27T14:23:59.425" v="2472" actId="14100"/>
        <pc:sldMkLst>
          <pc:docMk/>
          <pc:sldMk cId="4145302730" sldId="603"/>
        </pc:sldMkLst>
        <pc:spChg chg="mod">
          <ac:chgData name="Thomas Stensitzki" userId="75cafe6b-2f2a-469b-85c4-eec3b9c972ba" providerId="ADAL" clId="{84A5A1CF-D4D8-4DEE-82E8-21007BEBD9EB}" dt="2021-11-27T14:23:59.425" v="2472" actId="14100"/>
          <ac:spMkLst>
            <pc:docMk/>
            <pc:sldMk cId="4145302730" sldId="603"/>
            <ac:spMk id="2" creationId="{909DC09D-B9A6-4493-9A72-1CA7ECB1F5CA}"/>
          </ac:spMkLst>
        </pc:spChg>
      </pc:sldChg>
      <pc:sldChg chg="modSp add mod">
        <pc:chgData name="Thomas Stensitzki" userId="75cafe6b-2f2a-469b-85c4-eec3b9c972ba" providerId="ADAL" clId="{84A5A1CF-D4D8-4DEE-82E8-21007BEBD9EB}" dt="2021-11-27T14:24:31.639" v="2501" actId="1036"/>
        <pc:sldMkLst>
          <pc:docMk/>
          <pc:sldMk cId="166632333" sldId="604"/>
        </pc:sldMkLst>
        <pc:spChg chg="mod">
          <ac:chgData name="Thomas Stensitzki" userId="75cafe6b-2f2a-469b-85c4-eec3b9c972ba" providerId="ADAL" clId="{84A5A1CF-D4D8-4DEE-82E8-21007BEBD9EB}" dt="2021-11-27T14:24:31.639" v="2501" actId="1036"/>
          <ac:spMkLst>
            <pc:docMk/>
            <pc:sldMk cId="166632333" sldId="604"/>
            <ac:spMk id="2" creationId="{909DC09D-B9A6-4493-9A72-1CA7ECB1F5CA}"/>
          </ac:spMkLst>
        </pc:spChg>
      </pc:sldChg>
      <pc:sldChg chg="modSp add mod">
        <pc:chgData name="Thomas Stensitzki" userId="75cafe6b-2f2a-469b-85c4-eec3b9c972ba" providerId="ADAL" clId="{84A5A1CF-D4D8-4DEE-82E8-21007BEBD9EB}" dt="2021-11-27T14:24:41.132" v="2529" actId="1035"/>
        <pc:sldMkLst>
          <pc:docMk/>
          <pc:sldMk cId="2150546359" sldId="605"/>
        </pc:sldMkLst>
        <pc:spChg chg="mod">
          <ac:chgData name="Thomas Stensitzki" userId="75cafe6b-2f2a-469b-85c4-eec3b9c972ba" providerId="ADAL" clId="{84A5A1CF-D4D8-4DEE-82E8-21007BEBD9EB}" dt="2021-11-27T14:24:41.132" v="2529" actId="1035"/>
          <ac:spMkLst>
            <pc:docMk/>
            <pc:sldMk cId="2150546359" sldId="605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84A5A1CF-D4D8-4DEE-82E8-21007BEBD9EB}" dt="2021-11-27T14:24:55.538" v="2556" actId="1035"/>
        <pc:sldMkLst>
          <pc:docMk/>
          <pc:sldMk cId="2386028982" sldId="606"/>
        </pc:sldMkLst>
        <pc:spChg chg="mod">
          <ac:chgData name="Thomas Stensitzki" userId="75cafe6b-2f2a-469b-85c4-eec3b9c972ba" providerId="ADAL" clId="{84A5A1CF-D4D8-4DEE-82E8-21007BEBD9EB}" dt="2021-11-27T14:24:55.538" v="2556" actId="1035"/>
          <ac:spMkLst>
            <pc:docMk/>
            <pc:sldMk cId="2386028982" sldId="606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84A5A1CF-D4D8-4DEE-82E8-21007BEBD9EB}" dt="2021-11-27T14:25:19.875" v="2598" actId="6549"/>
        <pc:sldMkLst>
          <pc:docMk/>
          <pc:sldMk cId="2597390730" sldId="607"/>
        </pc:sldMkLst>
        <pc:spChg chg="mod">
          <ac:chgData name="Thomas Stensitzki" userId="75cafe6b-2f2a-469b-85c4-eec3b9c972ba" providerId="ADAL" clId="{84A5A1CF-D4D8-4DEE-82E8-21007BEBD9EB}" dt="2021-11-27T14:25:16.340" v="2596" actId="14100"/>
          <ac:spMkLst>
            <pc:docMk/>
            <pc:sldMk cId="2597390730" sldId="607"/>
            <ac:spMk id="2" creationId="{909DC09D-B9A6-4493-9A72-1CA7ECB1F5CA}"/>
          </ac:spMkLst>
        </pc:spChg>
        <pc:spChg chg="mod">
          <ac:chgData name="Thomas Stensitzki" userId="75cafe6b-2f2a-469b-85c4-eec3b9c972ba" providerId="ADAL" clId="{84A5A1CF-D4D8-4DEE-82E8-21007BEBD9EB}" dt="2021-11-27T14:25:19.875" v="2598" actId="6549"/>
          <ac:spMkLst>
            <pc:docMk/>
            <pc:sldMk cId="2597390730" sldId="607"/>
            <ac:spMk id="5" creationId="{C24DACB5-1BEC-4C86-9652-BAFD8DE56FEF}"/>
          </ac:spMkLst>
        </pc:spChg>
      </pc:sldChg>
    </pc:docChg>
  </pc:docChgLst>
  <pc:docChgLst>
    <pc:chgData name="Thomas Stensitzki" userId="75cafe6b-2f2a-469b-85c4-eec3b9c972ba" providerId="ADAL" clId="{07400056-9986-479D-B453-47B484FEC0A9}"/>
    <pc:docChg chg="undo custSel addSld delSld modSld sldOrd modMainMaster modSection">
      <pc:chgData name="Thomas Stensitzki" userId="75cafe6b-2f2a-469b-85c4-eec3b9c972ba" providerId="ADAL" clId="{07400056-9986-479D-B453-47B484FEC0A9}" dt="2023-12-10T12:47:46.066" v="2670" actId="1076"/>
      <pc:docMkLst>
        <pc:docMk/>
      </pc:docMkLst>
      <pc:sldChg chg="modSp mod">
        <pc:chgData name="Thomas Stensitzki" userId="75cafe6b-2f2a-469b-85c4-eec3b9c972ba" providerId="ADAL" clId="{07400056-9986-479D-B453-47B484FEC0A9}" dt="2023-12-02T12:07:24.664" v="13" actId="20577"/>
        <pc:sldMkLst>
          <pc:docMk/>
          <pc:sldMk cId="671489701" sldId="256"/>
        </pc:sldMkLst>
        <pc:spChg chg="mod">
          <ac:chgData name="Thomas Stensitzki" userId="75cafe6b-2f2a-469b-85c4-eec3b9c972ba" providerId="ADAL" clId="{07400056-9986-479D-B453-47B484FEC0A9}" dt="2023-12-02T12:07:24.664" v="13" actId="20577"/>
          <ac:spMkLst>
            <pc:docMk/>
            <pc:sldMk cId="671489701" sldId="256"/>
            <ac:spMk id="3" creationId="{CBA95633-B02D-4A15-A8B1-A38E0A70FD27}"/>
          </ac:spMkLst>
        </pc:spChg>
      </pc:sldChg>
      <pc:sldChg chg="delSp modSp mod">
        <pc:chgData name="Thomas Stensitzki" userId="75cafe6b-2f2a-469b-85c4-eec3b9c972ba" providerId="ADAL" clId="{07400056-9986-479D-B453-47B484FEC0A9}" dt="2023-12-07T15:59:24.617" v="2668" actId="478"/>
        <pc:sldMkLst>
          <pc:docMk/>
          <pc:sldMk cId="2855324227" sldId="257"/>
        </pc:sldMkLst>
        <pc:graphicFrameChg chg="mod modGraphic">
          <ac:chgData name="Thomas Stensitzki" userId="75cafe6b-2f2a-469b-85c4-eec3b9c972ba" providerId="ADAL" clId="{07400056-9986-479D-B453-47B484FEC0A9}" dt="2023-12-07T15:56:05.757" v="2637" actId="20577"/>
          <ac:graphicFrameMkLst>
            <pc:docMk/>
            <pc:sldMk cId="2855324227" sldId="257"/>
            <ac:graphicFrameMk id="6" creationId="{0F955DCC-462D-431D-BBDE-26F10687D590}"/>
          </ac:graphicFrameMkLst>
        </pc:graphicFrameChg>
        <pc:picChg chg="del mod">
          <ac:chgData name="Thomas Stensitzki" userId="75cafe6b-2f2a-469b-85c4-eec3b9c972ba" providerId="ADAL" clId="{07400056-9986-479D-B453-47B484FEC0A9}" dt="2023-12-07T15:59:24.617" v="2668" actId="478"/>
          <ac:picMkLst>
            <pc:docMk/>
            <pc:sldMk cId="2855324227" sldId="257"/>
            <ac:picMk id="3" creationId="{7E9BCC18-41F2-6905-F148-849B8FE8CF63}"/>
          </ac:picMkLst>
        </pc:picChg>
      </pc:sldChg>
      <pc:sldChg chg="modSp mod">
        <pc:chgData name="Thomas Stensitzki" userId="75cafe6b-2f2a-469b-85c4-eec3b9c972ba" providerId="ADAL" clId="{07400056-9986-479D-B453-47B484FEC0A9}" dt="2023-12-10T12:47:46.066" v="2670" actId="1076"/>
        <pc:sldMkLst>
          <pc:docMk/>
          <pc:sldMk cId="3332792154" sldId="258"/>
        </pc:sldMkLst>
        <pc:spChg chg="mod">
          <ac:chgData name="Thomas Stensitzki" userId="75cafe6b-2f2a-469b-85c4-eec3b9c972ba" providerId="ADAL" clId="{07400056-9986-479D-B453-47B484FEC0A9}" dt="2023-12-02T12:54:18.538" v="270" actId="20577"/>
          <ac:spMkLst>
            <pc:docMk/>
            <pc:sldMk cId="3332792154" sldId="258"/>
            <ac:spMk id="3" creationId="{3A5A44EB-7FB9-473A-8ED3-C49DDD2E65AB}"/>
          </ac:spMkLst>
        </pc:spChg>
        <pc:picChg chg="mod">
          <ac:chgData name="Thomas Stensitzki" userId="75cafe6b-2f2a-469b-85c4-eec3b9c972ba" providerId="ADAL" clId="{07400056-9986-479D-B453-47B484FEC0A9}" dt="2023-12-10T12:47:46.066" v="2670" actId="1076"/>
          <ac:picMkLst>
            <pc:docMk/>
            <pc:sldMk cId="3332792154" sldId="258"/>
            <ac:picMk id="1026" creationId="{F7C90142-B1AA-1344-2DB1-054C9B2C6BC4}"/>
          </ac:picMkLst>
        </pc:picChg>
      </pc:sldChg>
      <pc:sldChg chg="mod modShow">
        <pc:chgData name="Thomas Stensitzki" userId="75cafe6b-2f2a-469b-85c4-eec3b9c972ba" providerId="ADAL" clId="{07400056-9986-479D-B453-47B484FEC0A9}" dt="2023-12-07T10:05:26.890" v="2466" actId="729"/>
        <pc:sldMkLst>
          <pc:docMk/>
          <pc:sldMk cId="1545829058" sldId="259"/>
        </pc:sldMkLst>
      </pc:sldChg>
      <pc:sldChg chg="modSp mod">
        <pc:chgData name="Thomas Stensitzki" userId="75cafe6b-2f2a-469b-85c4-eec3b9c972ba" providerId="ADAL" clId="{07400056-9986-479D-B453-47B484FEC0A9}" dt="2023-12-07T15:56:15.479" v="2657" actId="20577"/>
        <pc:sldMkLst>
          <pc:docMk/>
          <pc:sldMk cId="2698998357" sldId="260"/>
        </pc:sldMkLst>
        <pc:spChg chg="mod">
          <ac:chgData name="Thomas Stensitzki" userId="75cafe6b-2f2a-469b-85c4-eec3b9c972ba" providerId="ADAL" clId="{07400056-9986-479D-B453-47B484FEC0A9}" dt="2023-12-07T15:56:15.479" v="2657" actId="20577"/>
          <ac:spMkLst>
            <pc:docMk/>
            <pc:sldMk cId="2698998357" sldId="260"/>
            <ac:spMk id="4" creationId="{F3A15CBD-C746-44A3-A4F0-4898CE2F02E6}"/>
          </ac:spMkLst>
        </pc:spChg>
        <pc:spChg chg="mod">
          <ac:chgData name="Thomas Stensitzki" userId="75cafe6b-2f2a-469b-85c4-eec3b9c972ba" providerId="ADAL" clId="{07400056-9986-479D-B453-47B484FEC0A9}" dt="2023-12-05T11:30:52.784" v="2422" actId="20577"/>
          <ac:spMkLst>
            <pc:docMk/>
            <pc:sldMk cId="2698998357" sldId="260"/>
            <ac:spMk id="5" creationId="{F3459BE7-1731-4733-A912-12977C68CFD6}"/>
          </ac:spMkLst>
        </pc:spChg>
      </pc:sldChg>
      <pc:sldChg chg="modSp mod">
        <pc:chgData name="Thomas Stensitzki" userId="75cafe6b-2f2a-469b-85c4-eec3b9c972ba" providerId="ADAL" clId="{07400056-9986-479D-B453-47B484FEC0A9}" dt="2023-12-07T15:55:54.649" v="2627" actId="114"/>
        <pc:sldMkLst>
          <pc:docMk/>
          <pc:sldMk cId="4007670073" sldId="268"/>
        </pc:sldMkLst>
        <pc:spChg chg="mod">
          <ac:chgData name="Thomas Stensitzki" userId="75cafe6b-2f2a-469b-85c4-eec3b9c972ba" providerId="ADAL" clId="{07400056-9986-479D-B453-47B484FEC0A9}" dt="2023-12-07T15:55:54.649" v="2627" actId="114"/>
          <ac:spMkLst>
            <pc:docMk/>
            <pc:sldMk cId="4007670073" sldId="268"/>
            <ac:spMk id="5" creationId="{F3459BE7-1731-4733-A912-12977C68CFD6}"/>
          </ac:spMkLst>
        </pc:spChg>
      </pc:sldChg>
      <pc:sldChg chg="modSp mod modShow">
        <pc:chgData name="Thomas Stensitzki" userId="75cafe6b-2f2a-469b-85c4-eec3b9c972ba" providerId="ADAL" clId="{07400056-9986-479D-B453-47B484FEC0A9}" dt="2023-12-05T11:34:22.965" v="2465" actId="729"/>
        <pc:sldMkLst>
          <pc:docMk/>
          <pc:sldMk cId="2721051844" sldId="269"/>
        </pc:sldMkLst>
        <pc:spChg chg="mod">
          <ac:chgData name="Thomas Stensitzki" userId="75cafe6b-2f2a-469b-85c4-eec3b9c972ba" providerId="ADAL" clId="{07400056-9986-479D-B453-47B484FEC0A9}" dt="2023-12-02T12:14:02.937" v="166" actId="20577"/>
          <ac:spMkLst>
            <pc:docMk/>
            <pc:sldMk cId="2721051844" sldId="269"/>
            <ac:spMk id="5" creationId="{C24DACB5-1BEC-4C86-9652-BAFD8DE56FEF}"/>
          </ac:spMkLst>
        </pc:spChg>
      </pc:sldChg>
      <pc:sldChg chg="addSp delSp modSp mod">
        <pc:chgData name="Thomas Stensitzki" userId="75cafe6b-2f2a-469b-85c4-eec3b9c972ba" providerId="ADAL" clId="{07400056-9986-479D-B453-47B484FEC0A9}" dt="2023-12-07T10:05:54.287" v="2470" actId="478"/>
        <pc:sldMkLst>
          <pc:docMk/>
          <pc:sldMk cId="2227487991" sldId="378"/>
        </pc:sldMkLst>
        <pc:spChg chg="add del mod">
          <ac:chgData name="Thomas Stensitzki" userId="75cafe6b-2f2a-469b-85c4-eec3b9c972ba" providerId="ADAL" clId="{07400056-9986-479D-B453-47B484FEC0A9}" dt="2023-12-07T10:05:54.287" v="2470" actId="478"/>
          <ac:spMkLst>
            <pc:docMk/>
            <pc:sldMk cId="2227487991" sldId="378"/>
            <ac:spMk id="2" creationId="{909DC09D-B9A6-4493-9A72-1CA7ECB1F5CA}"/>
          </ac:spMkLst>
        </pc:spChg>
        <pc:spChg chg="mod">
          <ac:chgData name="Thomas Stensitzki" userId="75cafe6b-2f2a-469b-85c4-eec3b9c972ba" providerId="ADAL" clId="{07400056-9986-479D-B453-47B484FEC0A9}" dt="2023-12-04T18:18:37.342" v="2091"/>
          <ac:spMkLst>
            <pc:docMk/>
            <pc:sldMk cId="2227487991" sldId="378"/>
            <ac:spMk id="5" creationId="{C24DACB5-1BEC-4C86-9652-BAFD8DE56FEF}"/>
          </ac:spMkLst>
        </pc:spChg>
      </pc:sldChg>
      <pc:sldChg chg="del">
        <pc:chgData name="Thomas Stensitzki" userId="75cafe6b-2f2a-469b-85c4-eec3b9c972ba" providerId="ADAL" clId="{07400056-9986-479D-B453-47B484FEC0A9}" dt="2023-12-05T11:34:05.865" v="2464" actId="2696"/>
        <pc:sldMkLst>
          <pc:docMk/>
          <pc:sldMk cId="2923837414" sldId="513"/>
        </pc:sldMkLst>
      </pc:sldChg>
      <pc:sldChg chg="del">
        <pc:chgData name="Thomas Stensitzki" userId="75cafe6b-2f2a-469b-85c4-eec3b9c972ba" providerId="ADAL" clId="{07400056-9986-479D-B453-47B484FEC0A9}" dt="2023-12-02T12:10:12.617" v="131" actId="47"/>
        <pc:sldMkLst>
          <pc:docMk/>
          <pc:sldMk cId="3797754622" sldId="515"/>
        </pc:sldMkLst>
      </pc:sldChg>
      <pc:sldChg chg="modSp mod modAnim modShow">
        <pc:chgData name="Thomas Stensitzki" userId="75cafe6b-2f2a-469b-85c4-eec3b9c972ba" providerId="ADAL" clId="{07400056-9986-479D-B453-47B484FEC0A9}" dt="2023-12-07T18:48:18.268" v="2669" actId="729"/>
        <pc:sldMkLst>
          <pc:docMk/>
          <pc:sldMk cId="2791634409" sldId="560"/>
        </pc:sldMkLst>
        <pc:spChg chg="mod">
          <ac:chgData name="Thomas Stensitzki" userId="75cafe6b-2f2a-469b-85c4-eec3b9c972ba" providerId="ADAL" clId="{07400056-9986-479D-B453-47B484FEC0A9}" dt="2023-12-05T11:33:51.979" v="2463"/>
          <ac:spMkLst>
            <pc:docMk/>
            <pc:sldMk cId="2791634409" sldId="560"/>
            <ac:spMk id="5" creationId="{E4B561B6-C0CF-43D8-8BC7-F305B96C47C8}"/>
          </ac:spMkLst>
        </pc:spChg>
      </pc:sldChg>
      <pc:sldChg chg="modSp mod">
        <pc:chgData name="Thomas Stensitzki" userId="75cafe6b-2f2a-469b-85c4-eec3b9c972ba" providerId="ADAL" clId="{07400056-9986-479D-B453-47B484FEC0A9}" dt="2023-12-02T12:09:55.340" v="127" actId="6549"/>
        <pc:sldMkLst>
          <pc:docMk/>
          <pc:sldMk cId="1962477249" sldId="659"/>
        </pc:sldMkLst>
        <pc:spChg chg="mod">
          <ac:chgData name="Thomas Stensitzki" userId="75cafe6b-2f2a-469b-85c4-eec3b9c972ba" providerId="ADAL" clId="{07400056-9986-479D-B453-47B484FEC0A9}" dt="2023-12-02T12:09:55.340" v="127" actId="6549"/>
          <ac:spMkLst>
            <pc:docMk/>
            <pc:sldMk cId="1962477249" sldId="659"/>
            <ac:spMk id="5" creationId="{F3459BE7-1731-4733-A912-12977C68CFD6}"/>
          </ac:spMkLst>
        </pc:spChg>
      </pc:sldChg>
      <pc:sldChg chg="mod ord modShow">
        <pc:chgData name="Thomas Stensitzki" userId="75cafe6b-2f2a-469b-85c4-eec3b9c972ba" providerId="ADAL" clId="{07400056-9986-479D-B453-47B484FEC0A9}" dt="2023-12-05T11:30:01.577" v="2358" actId="729"/>
        <pc:sldMkLst>
          <pc:docMk/>
          <pc:sldMk cId="4212332529" sldId="661"/>
        </pc:sldMkLst>
      </pc:sldChg>
      <pc:sldChg chg="del">
        <pc:chgData name="Thomas Stensitzki" userId="75cafe6b-2f2a-469b-85c4-eec3b9c972ba" providerId="ADAL" clId="{07400056-9986-479D-B453-47B484FEC0A9}" dt="2023-12-02T12:10:35.913" v="138" actId="47"/>
        <pc:sldMkLst>
          <pc:docMk/>
          <pc:sldMk cId="1629876044" sldId="726"/>
        </pc:sldMkLst>
      </pc:sldChg>
      <pc:sldChg chg="del">
        <pc:chgData name="Thomas Stensitzki" userId="75cafe6b-2f2a-469b-85c4-eec3b9c972ba" providerId="ADAL" clId="{07400056-9986-479D-B453-47B484FEC0A9}" dt="2023-12-02T12:10:12.617" v="131" actId="47"/>
        <pc:sldMkLst>
          <pc:docMk/>
          <pc:sldMk cId="1317116280" sldId="742"/>
        </pc:sldMkLst>
      </pc:sldChg>
      <pc:sldChg chg="del">
        <pc:chgData name="Thomas Stensitzki" userId="75cafe6b-2f2a-469b-85c4-eec3b9c972ba" providerId="ADAL" clId="{07400056-9986-479D-B453-47B484FEC0A9}" dt="2023-12-02T12:09:39.659" v="123" actId="47"/>
        <pc:sldMkLst>
          <pc:docMk/>
          <pc:sldMk cId="2889031269" sldId="743"/>
        </pc:sldMkLst>
      </pc:sldChg>
      <pc:sldChg chg="del">
        <pc:chgData name="Thomas Stensitzki" userId="75cafe6b-2f2a-469b-85c4-eec3b9c972ba" providerId="ADAL" clId="{07400056-9986-479D-B453-47B484FEC0A9}" dt="2023-12-02T12:09:39.659" v="123" actId="47"/>
        <pc:sldMkLst>
          <pc:docMk/>
          <pc:sldMk cId="1784627537" sldId="744"/>
        </pc:sldMkLst>
      </pc:sldChg>
      <pc:sldChg chg="del">
        <pc:chgData name="Thomas Stensitzki" userId="75cafe6b-2f2a-469b-85c4-eec3b9c972ba" providerId="ADAL" clId="{07400056-9986-479D-B453-47B484FEC0A9}" dt="2023-12-02T12:09:39.659" v="123" actId="47"/>
        <pc:sldMkLst>
          <pc:docMk/>
          <pc:sldMk cId="3716288060" sldId="745"/>
        </pc:sldMkLst>
      </pc:sldChg>
      <pc:sldChg chg="del">
        <pc:chgData name="Thomas Stensitzki" userId="75cafe6b-2f2a-469b-85c4-eec3b9c972ba" providerId="ADAL" clId="{07400056-9986-479D-B453-47B484FEC0A9}" dt="2023-12-02T12:10:12.617" v="131" actId="47"/>
        <pc:sldMkLst>
          <pc:docMk/>
          <pc:sldMk cId="3235938383" sldId="746"/>
        </pc:sldMkLst>
      </pc:sldChg>
      <pc:sldChg chg="del">
        <pc:chgData name="Thomas Stensitzki" userId="75cafe6b-2f2a-469b-85c4-eec3b9c972ba" providerId="ADAL" clId="{07400056-9986-479D-B453-47B484FEC0A9}" dt="2023-12-02T12:10:12.617" v="131" actId="47"/>
        <pc:sldMkLst>
          <pc:docMk/>
          <pc:sldMk cId="1889968485" sldId="747"/>
        </pc:sldMkLst>
      </pc:sldChg>
      <pc:sldChg chg="del">
        <pc:chgData name="Thomas Stensitzki" userId="75cafe6b-2f2a-469b-85c4-eec3b9c972ba" providerId="ADAL" clId="{07400056-9986-479D-B453-47B484FEC0A9}" dt="2023-12-02T12:10:12.617" v="131" actId="47"/>
        <pc:sldMkLst>
          <pc:docMk/>
          <pc:sldMk cId="1375897934" sldId="748"/>
        </pc:sldMkLst>
      </pc:sldChg>
      <pc:sldChg chg="del">
        <pc:chgData name="Thomas Stensitzki" userId="75cafe6b-2f2a-469b-85c4-eec3b9c972ba" providerId="ADAL" clId="{07400056-9986-479D-B453-47B484FEC0A9}" dt="2023-12-02T12:10:15.057" v="132" actId="47"/>
        <pc:sldMkLst>
          <pc:docMk/>
          <pc:sldMk cId="1278550352" sldId="749"/>
        </pc:sldMkLst>
      </pc:sldChg>
      <pc:sldChg chg="del">
        <pc:chgData name="Thomas Stensitzki" userId="75cafe6b-2f2a-469b-85c4-eec3b9c972ba" providerId="ADAL" clId="{07400056-9986-479D-B453-47B484FEC0A9}" dt="2023-12-02T12:10:15.057" v="132" actId="47"/>
        <pc:sldMkLst>
          <pc:docMk/>
          <pc:sldMk cId="381789784" sldId="750"/>
        </pc:sldMkLst>
      </pc:sldChg>
      <pc:sldChg chg="del">
        <pc:chgData name="Thomas Stensitzki" userId="75cafe6b-2f2a-469b-85c4-eec3b9c972ba" providerId="ADAL" clId="{07400056-9986-479D-B453-47B484FEC0A9}" dt="2023-12-02T12:10:15.057" v="132" actId="47"/>
        <pc:sldMkLst>
          <pc:docMk/>
          <pc:sldMk cId="850467813" sldId="751"/>
        </pc:sldMkLst>
      </pc:sldChg>
      <pc:sldChg chg="del">
        <pc:chgData name="Thomas Stensitzki" userId="75cafe6b-2f2a-469b-85c4-eec3b9c972ba" providerId="ADAL" clId="{07400056-9986-479D-B453-47B484FEC0A9}" dt="2023-12-02T12:10:18.070" v="133" actId="47"/>
        <pc:sldMkLst>
          <pc:docMk/>
          <pc:sldMk cId="2617257881" sldId="752"/>
        </pc:sldMkLst>
      </pc:sldChg>
      <pc:sldChg chg="del">
        <pc:chgData name="Thomas Stensitzki" userId="75cafe6b-2f2a-469b-85c4-eec3b9c972ba" providerId="ADAL" clId="{07400056-9986-479D-B453-47B484FEC0A9}" dt="2023-12-02T12:10:18.070" v="133" actId="47"/>
        <pc:sldMkLst>
          <pc:docMk/>
          <pc:sldMk cId="4180603478" sldId="753"/>
        </pc:sldMkLst>
      </pc:sldChg>
      <pc:sldChg chg="del">
        <pc:chgData name="Thomas Stensitzki" userId="75cafe6b-2f2a-469b-85c4-eec3b9c972ba" providerId="ADAL" clId="{07400056-9986-479D-B453-47B484FEC0A9}" dt="2023-12-02T12:09:39.659" v="123" actId="47"/>
        <pc:sldMkLst>
          <pc:docMk/>
          <pc:sldMk cId="245637279" sldId="754"/>
        </pc:sldMkLst>
      </pc:sldChg>
      <pc:sldChg chg="del">
        <pc:chgData name="Thomas Stensitzki" userId="75cafe6b-2f2a-469b-85c4-eec3b9c972ba" providerId="ADAL" clId="{07400056-9986-479D-B453-47B484FEC0A9}" dt="2023-12-02T12:09:48.068" v="124" actId="47"/>
        <pc:sldMkLst>
          <pc:docMk/>
          <pc:sldMk cId="3001994711" sldId="755"/>
        </pc:sldMkLst>
      </pc:sldChg>
      <pc:sldChg chg="del">
        <pc:chgData name="Thomas Stensitzki" userId="75cafe6b-2f2a-469b-85c4-eec3b9c972ba" providerId="ADAL" clId="{07400056-9986-479D-B453-47B484FEC0A9}" dt="2023-12-02T12:09:48.068" v="124" actId="47"/>
        <pc:sldMkLst>
          <pc:docMk/>
          <pc:sldMk cId="495742784" sldId="756"/>
        </pc:sldMkLst>
      </pc:sldChg>
      <pc:sldChg chg="del">
        <pc:chgData name="Thomas Stensitzki" userId="75cafe6b-2f2a-469b-85c4-eec3b9c972ba" providerId="ADAL" clId="{07400056-9986-479D-B453-47B484FEC0A9}" dt="2023-12-02T12:09:48.068" v="124" actId="47"/>
        <pc:sldMkLst>
          <pc:docMk/>
          <pc:sldMk cId="132134635" sldId="757"/>
        </pc:sldMkLst>
      </pc:sldChg>
      <pc:sldChg chg="del">
        <pc:chgData name="Thomas Stensitzki" userId="75cafe6b-2f2a-469b-85c4-eec3b9c972ba" providerId="ADAL" clId="{07400056-9986-479D-B453-47B484FEC0A9}" dt="2023-12-02T12:10:18.070" v="133" actId="47"/>
        <pc:sldMkLst>
          <pc:docMk/>
          <pc:sldMk cId="2284546408" sldId="758"/>
        </pc:sldMkLst>
      </pc:sldChg>
      <pc:sldChg chg="del">
        <pc:chgData name="Thomas Stensitzki" userId="75cafe6b-2f2a-469b-85c4-eec3b9c972ba" providerId="ADAL" clId="{07400056-9986-479D-B453-47B484FEC0A9}" dt="2023-12-02T12:09:48.068" v="124" actId="47"/>
        <pc:sldMkLst>
          <pc:docMk/>
          <pc:sldMk cId="3449039697" sldId="759"/>
        </pc:sldMkLst>
      </pc:sldChg>
      <pc:sldChg chg="del">
        <pc:chgData name="Thomas Stensitzki" userId="75cafe6b-2f2a-469b-85c4-eec3b9c972ba" providerId="ADAL" clId="{07400056-9986-479D-B453-47B484FEC0A9}" dt="2023-12-02T12:09:48.068" v="124" actId="47"/>
        <pc:sldMkLst>
          <pc:docMk/>
          <pc:sldMk cId="1212930002" sldId="760"/>
        </pc:sldMkLst>
      </pc:sldChg>
      <pc:sldChg chg="del">
        <pc:chgData name="Thomas Stensitzki" userId="75cafe6b-2f2a-469b-85c4-eec3b9c972ba" providerId="ADAL" clId="{07400056-9986-479D-B453-47B484FEC0A9}" dt="2023-12-02T12:10:20.229" v="134" actId="47"/>
        <pc:sldMkLst>
          <pc:docMk/>
          <pc:sldMk cId="2936606080" sldId="761"/>
        </pc:sldMkLst>
      </pc:sldChg>
      <pc:sldChg chg="del">
        <pc:chgData name="Thomas Stensitzki" userId="75cafe6b-2f2a-469b-85c4-eec3b9c972ba" providerId="ADAL" clId="{07400056-9986-479D-B453-47B484FEC0A9}" dt="2023-12-02T12:10:20.229" v="134" actId="47"/>
        <pc:sldMkLst>
          <pc:docMk/>
          <pc:sldMk cId="817169500" sldId="762"/>
        </pc:sldMkLst>
      </pc:sldChg>
      <pc:sldChg chg="del">
        <pc:chgData name="Thomas Stensitzki" userId="75cafe6b-2f2a-469b-85c4-eec3b9c972ba" providerId="ADAL" clId="{07400056-9986-479D-B453-47B484FEC0A9}" dt="2023-12-02T12:09:48.068" v="124" actId="47"/>
        <pc:sldMkLst>
          <pc:docMk/>
          <pc:sldMk cId="1663945658" sldId="763"/>
        </pc:sldMkLst>
      </pc:sldChg>
      <pc:sldChg chg="del">
        <pc:chgData name="Thomas Stensitzki" userId="75cafe6b-2f2a-469b-85c4-eec3b9c972ba" providerId="ADAL" clId="{07400056-9986-479D-B453-47B484FEC0A9}" dt="2023-12-02T12:09:51.629" v="125" actId="47"/>
        <pc:sldMkLst>
          <pc:docMk/>
          <pc:sldMk cId="1345283162" sldId="764"/>
        </pc:sldMkLst>
      </pc:sldChg>
      <pc:sldChg chg="del">
        <pc:chgData name="Thomas Stensitzki" userId="75cafe6b-2f2a-469b-85c4-eec3b9c972ba" providerId="ADAL" clId="{07400056-9986-479D-B453-47B484FEC0A9}" dt="2023-12-02T12:10:22.993" v="135" actId="47"/>
        <pc:sldMkLst>
          <pc:docMk/>
          <pc:sldMk cId="1401076497" sldId="765"/>
        </pc:sldMkLst>
      </pc:sldChg>
      <pc:sldChg chg="modSp mod">
        <pc:chgData name="Thomas Stensitzki" userId="75cafe6b-2f2a-469b-85c4-eec3b9c972ba" providerId="ADAL" clId="{07400056-9986-479D-B453-47B484FEC0A9}" dt="2023-12-04T18:27:19.518" v="2277" actId="20577"/>
        <pc:sldMkLst>
          <pc:docMk/>
          <pc:sldMk cId="3637612548" sldId="766"/>
        </pc:sldMkLst>
        <pc:spChg chg="mod">
          <ac:chgData name="Thomas Stensitzki" userId="75cafe6b-2f2a-469b-85c4-eec3b9c972ba" providerId="ADAL" clId="{07400056-9986-479D-B453-47B484FEC0A9}" dt="2023-12-04T18:27:19.518" v="2277" actId="20577"/>
          <ac:spMkLst>
            <pc:docMk/>
            <pc:sldMk cId="3637612548" sldId="766"/>
            <ac:spMk id="5" creationId="{C24DACB5-1BEC-4C86-9652-BAFD8DE56FEF}"/>
          </ac:spMkLst>
        </pc:spChg>
      </pc:sldChg>
      <pc:sldChg chg="del">
        <pc:chgData name="Thomas Stensitzki" userId="75cafe6b-2f2a-469b-85c4-eec3b9c972ba" providerId="ADAL" clId="{07400056-9986-479D-B453-47B484FEC0A9}" dt="2023-12-02T12:10:12.617" v="131" actId="47"/>
        <pc:sldMkLst>
          <pc:docMk/>
          <pc:sldMk cId="1072098424" sldId="767"/>
        </pc:sldMkLst>
      </pc:sldChg>
      <pc:sldChg chg="del">
        <pc:chgData name="Thomas Stensitzki" userId="75cafe6b-2f2a-469b-85c4-eec3b9c972ba" providerId="ADAL" clId="{07400056-9986-479D-B453-47B484FEC0A9}" dt="2023-12-02T12:10:12.617" v="131" actId="47"/>
        <pc:sldMkLst>
          <pc:docMk/>
          <pc:sldMk cId="3015216465" sldId="768"/>
        </pc:sldMkLst>
      </pc:sldChg>
      <pc:sldChg chg="del">
        <pc:chgData name="Thomas Stensitzki" userId="75cafe6b-2f2a-469b-85c4-eec3b9c972ba" providerId="ADAL" clId="{07400056-9986-479D-B453-47B484FEC0A9}" dt="2023-12-02T12:10:15.057" v="132" actId="47"/>
        <pc:sldMkLst>
          <pc:docMk/>
          <pc:sldMk cId="3341696552" sldId="769"/>
        </pc:sldMkLst>
      </pc:sldChg>
      <pc:sldChg chg="del">
        <pc:chgData name="Thomas Stensitzki" userId="75cafe6b-2f2a-469b-85c4-eec3b9c972ba" providerId="ADAL" clId="{07400056-9986-479D-B453-47B484FEC0A9}" dt="2023-12-02T12:10:15.057" v="132" actId="47"/>
        <pc:sldMkLst>
          <pc:docMk/>
          <pc:sldMk cId="1862083116" sldId="770"/>
        </pc:sldMkLst>
      </pc:sldChg>
      <pc:sldChg chg="del">
        <pc:chgData name="Thomas Stensitzki" userId="75cafe6b-2f2a-469b-85c4-eec3b9c972ba" providerId="ADAL" clId="{07400056-9986-479D-B453-47B484FEC0A9}" dt="2023-12-02T12:10:18.070" v="133" actId="47"/>
        <pc:sldMkLst>
          <pc:docMk/>
          <pc:sldMk cId="3596702180" sldId="771"/>
        </pc:sldMkLst>
      </pc:sldChg>
      <pc:sldChg chg="del">
        <pc:chgData name="Thomas Stensitzki" userId="75cafe6b-2f2a-469b-85c4-eec3b9c972ba" providerId="ADAL" clId="{07400056-9986-479D-B453-47B484FEC0A9}" dt="2023-12-02T12:10:18.070" v="133" actId="47"/>
        <pc:sldMkLst>
          <pc:docMk/>
          <pc:sldMk cId="2393292893" sldId="772"/>
        </pc:sldMkLst>
      </pc:sldChg>
      <pc:sldChg chg="del">
        <pc:chgData name="Thomas Stensitzki" userId="75cafe6b-2f2a-469b-85c4-eec3b9c972ba" providerId="ADAL" clId="{07400056-9986-479D-B453-47B484FEC0A9}" dt="2023-12-02T12:10:20.229" v="134" actId="47"/>
        <pc:sldMkLst>
          <pc:docMk/>
          <pc:sldMk cId="3637642839" sldId="773"/>
        </pc:sldMkLst>
      </pc:sldChg>
      <pc:sldChg chg="modSp mod modShow">
        <pc:chgData name="Thomas Stensitzki" userId="75cafe6b-2f2a-469b-85c4-eec3b9c972ba" providerId="ADAL" clId="{07400056-9986-479D-B453-47B484FEC0A9}" dt="2023-12-05T11:30:10.381" v="2359" actId="729"/>
        <pc:sldMkLst>
          <pc:docMk/>
          <pc:sldMk cId="300984612" sldId="774"/>
        </pc:sldMkLst>
        <pc:spChg chg="mod">
          <ac:chgData name="Thomas Stensitzki" userId="75cafe6b-2f2a-469b-85c4-eec3b9c972ba" providerId="ADAL" clId="{07400056-9986-479D-B453-47B484FEC0A9}" dt="2023-12-02T12:10:28.396" v="136" actId="20577"/>
          <ac:spMkLst>
            <pc:docMk/>
            <pc:sldMk cId="300984612" sldId="774"/>
            <ac:spMk id="5" creationId="{EB3EE15C-31D3-4DE1-85CD-5E2D24291A49}"/>
          </ac:spMkLst>
        </pc:spChg>
      </pc:sldChg>
      <pc:sldChg chg="del">
        <pc:chgData name="Thomas Stensitzki" userId="75cafe6b-2f2a-469b-85c4-eec3b9c972ba" providerId="ADAL" clId="{07400056-9986-479D-B453-47B484FEC0A9}" dt="2023-12-02T12:10:34.015" v="137" actId="47"/>
        <pc:sldMkLst>
          <pc:docMk/>
          <pc:sldMk cId="1215936229" sldId="775"/>
        </pc:sldMkLst>
      </pc:sldChg>
      <pc:sldChg chg="del">
        <pc:chgData name="Thomas Stensitzki" userId="75cafe6b-2f2a-469b-85c4-eec3b9c972ba" providerId="ADAL" clId="{07400056-9986-479D-B453-47B484FEC0A9}" dt="2023-12-02T12:10:34.015" v="137" actId="47"/>
        <pc:sldMkLst>
          <pc:docMk/>
          <pc:sldMk cId="968451505" sldId="776"/>
        </pc:sldMkLst>
      </pc:sldChg>
      <pc:sldChg chg="del">
        <pc:chgData name="Thomas Stensitzki" userId="75cafe6b-2f2a-469b-85c4-eec3b9c972ba" providerId="ADAL" clId="{07400056-9986-479D-B453-47B484FEC0A9}" dt="2023-12-02T12:10:34.015" v="137" actId="47"/>
        <pc:sldMkLst>
          <pc:docMk/>
          <pc:sldMk cId="2373903630" sldId="777"/>
        </pc:sldMkLst>
      </pc:sldChg>
      <pc:sldChg chg="del">
        <pc:chgData name="Thomas Stensitzki" userId="75cafe6b-2f2a-469b-85c4-eec3b9c972ba" providerId="ADAL" clId="{07400056-9986-479D-B453-47B484FEC0A9}" dt="2023-12-02T12:10:34.015" v="137" actId="47"/>
        <pc:sldMkLst>
          <pc:docMk/>
          <pc:sldMk cId="2758939317" sldId="778"/>
        </pc:sldMkLst>
      </pc:sldChg>
      <pc:sldChg chg="del">
        <pc:chgData name="Thomas Stensitzki" userId="75cafe6b-2f2a-469b-85c4-eec3b9c972ba" providerId="ADAL" clId="{07400056-9986-479D-B453-47B484FEC0A9}" dt="2023-12-02T12:09:39.659" v="123" actId="47"/>
        <pc:sldMkLst>
          <pc:docMk/>
          <pc:sldMk cId="2052217329" sldId="779"/>
        </pc:sldMkLst>
      </pc:sldChg>
      <pc:sldChg chg="del">
        <pc:chgData name="Thomas Stensitzki" userId="75cafe6b-2f2a-469b-85c4-eec3b9c972ba" providerId="ADAL" clId="{07400056-9986-479D-B453-47B484FEC0A9}" dt="2023-12-02T12:09:39.659" v="123" actId="47"/>
        <pc:sldMkLst>
          <pc:docMk/>
          <pc:sldMk cId="456002877" sldId="780"/>
        </pc:sldMkLst>
      </pc:sldChg>
      <pc:sldChg chg="del">
        <pc:chgData name="Thomas Stensitzki" userId="75cafe6b-2f2a-469b-85c4-eec3b9c972ba" providerId="ADAL" clId="{07400056-9986-479D-B453-47B484FEC0A9}" dt="2023-12-02T12:09:39.659" v="123" actId="47"/>
        <pc:sldMkLst>
          <pc:docMk/>
          <pc:sldMk cId="1666844012" sldId="781"/>
        </pc:sldMkLst>
      </pc:sldChg>
      <pc:sldChg chg="del">
        <pc:chgData name="Thomas Stensitzki" userId="75cafe6b-2f2a-469b-85c4-eec3b9c972ba" providerId="ADAL" clId="{07400056-9986-479D-B453-47B484FEC0A9}" dt="2023-12-02T12:09:48.068" v="124" actId="47"/>
        <pc:sldMkLst>
          <pc:docMk/>
          <pc:sldMk cId="1365151735" sldId="782"/>
        </pc:sldMkLst>
      </pc:sldChg>
      <pc:sldChg chg="del">
        <pc:chgData name="Thomas Stensitzki" userId="75cafe6b-2f2a-469b-85c4-eec3b9c972ba" providerId="ADAL" clId="{07400056-9986-479D-B453-47B484FEC0A9}" dt="2023-12-02T12:09:48.068" v="124" actId="47"/>
        <pc:sldMkLst>
          <pc:docMk/>
          <pc:sldMk cId="2345373174" sldId="783"/>
        </pc:sldMkLst>
      </pc:sldChg>
      <pc:sldChg chg="del">
        <pc:chgData name="Thomas Stensitzki" userId="75cafe6b-2f2a-469b-85c4-eec3b9c972ba" providerId="ADAL" clId="{07400056-9986-479D-B453-47B484FEC0A9}" dt="2023-12-02T12:09:48.068" v="124" actId="47"/>
        <pc:sldMkLst>
          <pc:docMk/>
          <pc:sldMk cId="3111584397" sldId="784"/>
        </pc:sldMkLst>
      </pc:sldChg>
      <pc:sldChg chg="addSp delSp modSp new mod setBg chgLayout">
        <pc:chgData name="Thomas Stensitzki" userId="75cafe6b-2f2a-469b-85c4-eec3b9c972ba" providerId="ADAL" clId="{07400056-9986-479D-B453-47B484FEC0A9}" dt="2023-12-02T12:09:17.192" v="115" actId="2711"/>
        <pc:sldMkLst>
          <pc:docMk/>
          <pc:sldMk cId="3196266039" sldId="785"/>
        </pc:sldMkLst>
        <pc:spChg chg="del">
          <ac:chgData name="Thomas Stensitzki" userId="75cafe6b-2f2a-469b-85c4-eec3b9c972ba" providerId="ADAL" clId="{07400056-9986-479D-B453-47B484FEC0A9}" dt="2023-12-02T12:08:38.311" v="108" actId="700"/>
          <ac:spMkLst>
            <pc:docMk/>
            <pc:sldMk cId="3196266039" sldId="785"/>
            <ac:spMk id="2" creationId="{FB7691ED-6EFA-E10B-791E-2DA48F5EC43C}"/>
          </ac:spMkLst>
        </pc:spChg>
        <pc:spChg chg="del">
          <ac:chgData name="Thomas Stensitzki" userId="75cafe6b-2f2a-469b-85c4-eec3b9c972ba" providerId="ADAL" clId="{07400056-9986-479D-B453-47B484FEC0A9}" dt="2023-12-02T12:08:38.311" v="108" actId="700"/>
          <ac:spMkLst>
            <pc:docMk/>
            <pc:sldMk cId="3196266039" sldId="785"/>
            <ac:spMk id="3" creationId="{34D45F41-A8B5-62AC-E231-A39FE78C6C20}"/>
          </ac:spMkLst>
        </pc:spChg>
        <pc:spChg chg="add mod ord">
          <ac:chgData name="Thomas Stensitzki" userId="75cafe6b-2f2a-469b-85c4-eec3b9c972ba" providerId="ADAL" clId="{07400056-9986-479D-B453-47B484FEC0A9}" dt="2023-12-02T12:09:17.192" v="115" actId="2711"/>
          <ac:spMkLst>
            <pc:docMk/>
            <pc:sldMk cId="3196266039" sldId="785"/>
            <ac:spMk id="4" creationId="{855E9E74-B9FC-897F-43D9-0E7B90E467B5}"/>
          </ac:spMkLst>
        </pc:spChg>
        <pc:spChg chg="add mod ord">
          <ac:chgData name="Thomas Stensitzki" userId="75cafe6b-2f2a-469b-85c4-eec3b9c972ba" providerId="ADAL" clId="{07400056-9986-479D-B453-47B484FEC0A9}" dt="2023-12-02T12:08:49.128" v="113" actId="26606"/>
          <ac:spMkLst>
            <pc:docMk/>
            <pc:sldMk cId="3196266039" sldId="785"/>
            <ac:spMk id="5" creationId="{019A2F21-8679-810B-418A-FDD6B869AC63}"/>
          </ac:spMkLst>
        </pc:spChg>
        <pc:spChg chg="add">
          <ac:chgData name="Thomas Stensitzki" userId="75cafe6b-2f2a-469b-85c4-eec3b9c972ba" providerId="ADAL" clId="{07400056-9986-479D-B453-47B484FEC0A9}" dt="2023-12-02T12:08:49.128" v="113" actId="26606"/>
          <ac:spMkLst>
            <pc:docMk/>
            <pc:sldMk cId="3196266039" sldId="785"/>
            <ac:spMk id="11" creationId="{0671A8AE-40A1-4631-A6B8-581AFF065482}"/>
          </ac:spMkLst>
        </pc:spChg>
        <pc:spChg chg="add">
          <ac:chgData name="Thomas Stensitzki" userId="75cafe6b-2f2a-469b-85c4-eec3b9c972ba" providerId="ADAL" clId="{07400056-9986-479D-B453-47B484FEC0A9}" dt="2023-12-02T12:08:49.128" v="113" actId="26606"/>
          <ac:spMkLst>
            <pc:docMk/>
            <pc:sldMk cId="3196266039" sldId="785"/>
            <ac:spMk id="13" creationId="{AB58EF07-17C2-48CF-ABB0-EEF1F17CB8F0}"/>
          </ac:spMkLst>
        </pc:spChg>
        <pc:spChg chg="add">
          <ac:chgData name="Thomas Stensitzki" userId="75cafe6b-2f2a-469b-85c4-eec3b9c972ba" providerId="ADAL" clId="{07400056-9986-479D-B453-47B484FEC0A9}" dt="2023-12-02T12:08:49.128" v="113" actId="26606"/>
          <ac:spMkLst>
            <pc:docMk/>
            <pc:sldMk cId="3196266039" sldId="785"/>
            <ac:spMk id="15" creationId="{AF2F604E-43BE-4DC3-B983-E071523364F8}"/>
          </ac:spMkLst>
        </pc:spChg>
        <pc:spChg chg="add">
          <ac:chgData name="Thomas Stensitzki" userId="75cafe6b-2f2a-469b-85c4-eec3b9c972ba" providerId="ADAL" clId="{07400056-9986-479D-B453-47B484FEC0A9}" dt="2023-12-02T12:08:49.128" v="113" actId="26606"/>
          <ac:spMkLst>
            <pc:docMk/>
            <pc:sldMk cId="3196266039" sldId="785"/>
            <ac:spMk id="17" creationId="{08C9B587-E65E-4B52-B37C-ABEBB6E87928}"/>
          </ac:spMkLst>
        </pc:spChg>
        <pc:picChg chg="add">
          <ac:chgData name="Thomas Stensitzki" userId="75cafe6b-2f2a-469b-85c4-eec3b9c972ba" providerId="ADAL" clId="{07400056-9986-479D-B453-47B484FEC0A9}" dt="2023-12-02T12:08:49.128" v="113" actId="26606"/>
          <ac:picMkLst>
            <pc:docMk/>
            <pc:sldMk cId="3196266039" sldId="785"/>
            <ac:picMk id="7" creationId="{CF4A5BDA-987C-0075-B56E-A06CBB9EF925}"/>
          </ac:picMkLst>
        </pc:picChg>
      </pc:sldChg>
      <pc:sldChg chg="new del ord">
        <pc:chgData name="Thomas Stensitzki" userId="75cafe6b-2f2a-469b-85c4-eec3b9c972ba" providerId="ADAL" clId="{07400056-9986-479D-B453-47B484FEC0A9}" dt="2023-12-02T12:09:51.629" v="125" actId="47"/>
        <pc:sldMkLst>
          <pc:docMk/>
          <pc:sldMk cId="2388557487" sldId="786"/>
        </pc:sldMkLst>
      </pc:sldChg>
      <pc:sldChg chg="addSp modSp new mod ord">
        <pc:chgData name="Thomas Stensitzki" userId="75cafe6b-2f2a-469b-85c4-eec3b9c972ba" providerId="ADAL" clId="{07400056-9986-479D-B453-47B484FEC0A9}" dt="2023-12-04T17:46:28.758" v="880" actId="5793"/>
        <pc:sldMkLst>
          <pc:docMk/>
          <pc:sldMk cId="3349389137" sldId="786"/>
        </pc:sldMkLst>
        <pc:spChg chg="mod">
          <ac:chgData name="Thomas Stensitzki" userId="75cafe6b-2f2a-469b-85c4-eec3b9c972ba" providerId="ADAL" clId="{07400056-9986-479D-B453-47B484FEC0A9}" dt="2023-12-04T17:35:16.108" v="276"/>
          <ac:spMkLst>
            <pc:docMk/>
            <pc:sldMk cId="3349389137" sldId="786"/>
            <ac:spMk id="2" creationId="{44B86EDB-B1A4-5B04-0041-42F698A391DB}"/>
          </ac:spMkLst>
        </pc:spChg>
        <pc:spChg chg="mod">
          <ac:chgData name="Thomas Stensitzki" userId="75cafe6b-2f2a-469b-85c4-eec3b9c972ba" providerId="ADAL" clId="{07400056-9986-479D-B453-47B484FEC0A9}" dt="2023-12-04T17:46:28.758" v="880" actId="5793"/>
          <ac:spMkLst>
            <pc:docMk/>
            <pc:sldMk cId="3349389137" sldId="786"/>
            <ac:spMk id="3" creationId="{0BFEC616-7F44-6AC0-3969-05891FD18052}"/>
          </ac:spMkLst>
        </pc:spChg>
        <pc:spChg chg="add mod">
          <ac:chgData name="Thomas Stensitzki" userId="75cafe6b-2f2a-469b-85c4-eec3b9c972ba" providerId="ADAL" clId="{07400056-9986-479D-B453-47B484FEC0A9}" dt="2023-12-04T17:38:22.527" v="485" actId="1076"/>
          <ac:spMkLst>
            <pc:docMk/>
            <pc:sldMk cId="3349389137" sldId="786"/>
            <ac:spMk id="4" creationId="{A19F94DD-5690-C6D5-4B13-34691A3935DA}"/>
          </ac:spMkLst>
        </pc:spChg>
      </pc:sldChg>
      <pc:sldChg chg="addSp modSp new mod">
        <pc:chgData name="Thomas Stensitzki" userId="75cafe6b-2f2a-469b-85c4-eec3b9c972ba" providerId="ADAL" clId="{07400056-9986-479D-B453-47B484FEC0A9}" dt="2023-12-04T17:46:34.222" v="882" actId="5793"/>
        <pc:sldMkLst>
          <pc:docMk/>
          <pc:sldMk cId="3901722862" sldId="787"/>
        </pc:sldMkLst>
        <pc:spChg chg="mod">
          <ac:chgData name="Thomas Stensitzki" userId="75cafe6b-2f2a-469b-85c4-eec3b9c972ba" providerId="ADAL" clId="{07400056-9986-479D-B453-47B484FEC0A9}" dt="2023-12-04T17:42:08.053" v="589"/>
          <ac:spMkLst>
            <pc:docMk/>
            <pc:sldMk cId="3901722862" sldId="787"/>
            <ac:spMk id="2" creationId="{46C0C109-8924-7CD0-94A2-CCBAA7A705A8}"/>
          </ac:spMkLst>
        </pc:spChg>
        <pc:spChg chg="mod">
          <ac:chgData name="Thomas Stensitzki" userId="75cafe6b-2f2a-469b-85c4-eec3b9c972ba" providerId="ADAL" clId="{07400056-9986-479D-B453-47B484FEC0A9}" dt="2023-12-04T17:46:34.222" v="882" actId="5793"/>
          <ac:spMkLst>
            <pc:docMk/>
            <pc:sldMk cId="3901722862" sldId="787"/>
            <ac:spMk id="3" creationId="{012225EC-F645-4E0C-1905-945412E15C2B}"/>
          </ac:spMkLst>
        </pc:spChg>
        <pc:spChg chg="add mod">
          <ac:chgData name="Thomas Stensitzki" userId="75cafe6b-2f2a-469b-85c4-eec3b9c972ba" providerId="ADAL" clId="{07400056-9986-479D-B453-47B484FEC0A9}" dt="2023-12-04T17:45:23.720" v="847"/>
          <ac:spMkLst>
            <pc:docMk/>
            <pc:sldMk cId="3901722862" sldId="787"/>
            <ac:spMk id="4" creationId="{987A0CBB-270C-AFE4-5730-F0BE7F6435AE}"/>
          </ac:spMkLst>
        </pc:spChg>
      </pc:sldChg>
      <pc:sldChg chg="modSp new mod">
        <pc:chgData name="Thomas Stensitzki" userId="75cafe6b-2f2a-469b-85c4-eec3b9c972ba" providerId="ADAL" clId="{07400056-9986-479D-B453-47B484FEC0A9}" dt="2023-12-04T17:51:16.042" v="1211" actId="20577"/>
        <pc:sldMkLst>
          <pc:docMk/>
          <pc:sldMk cId="3204083669" sldId="788"/>
        </pc:sldMkLst>
        <pc:spChg chg="mod">
          <ac:chgData name="Thomas Stensitzki" userId="75cafe6b-2f2a-469b-85c4-eec3b9c972ba" providerId="ADAL" clId="{07400056-9986-479D-B453-47B484FEC0A9}" dt="2023-12-04T17:47:36.111" v="901" actId="20577"/>
          <ac:spMkLst>
            <pc:docMk/>
            <pc:sldMk cId="3204083669" sldId="788"/>
            <ac:spMk id="2" creationId="{A434B45F-7D28-4067-7CF8-2F8FE33BF462}"/>
          </ac:spMkLst>
        </pc:spChg>
        <pc:spChg chg="mod">
          <ac:chgData name="Thomas Stensitzki" userId="75cafe6b-2f2a-469b-85c4-eec3b9c972ba" providerId="ADAL" clId="{07400056-9986-479D-B453-47B484FEC0A9}" dt="2023-12-04T17:51:16.042" v="1211" actId="20577"/>
          <ac:spMkLst>
            <pc:docMk/>
            <pc:sldMk cId="3204083669" sldId="788"/>
            <ac:spMk id="3" creationId="{78D275FC-9916-49D6-AE56-0FAC00EAEA20}"/>
          </ac:spMkLst>
        </pc:spChg>
      </pc:sldChg>
      <pc:sldChg chg="addSp delSp modSp add mod">
        <pc:chgData name="Thomas Stensitzki" userId="75cafe6b-2f2a-469b-85c4-eec3b9c972ba" providerId="ADAL" clId="{07400056-9986-479D-B453-47B484FEC0A9}" dt="2023-12-04T17:49:52.101" v="1090" actId="1440"/>
        <pc:sldMkLst>
          <pc:docMk/>
          <pc:sldMk cId="1317890510" sldId="789"/>
        </pc:sldMkLst>
        <pc:spChg chg="del">
          <ac:chgData name="Thomas Stensitzki" userId="75cafe6b-2f2a-469b-85c4-eec3b9c972ba" providerId="ADAL" clId="{07400056-9986-479D-B453-47B484FEC0A9}" dt="2023-12-04T17:49:34.192" v="1085" actId="478"/>
          <ac:spMkLst>
            <pc:docMk/>
            <pc:sldMk cId="1317890510" sldId="789"/>
            <ac:spMk id="3" creationId="{78D275FC-9916-49D6-AE56-0FAC00EAEA20}"/>
          </ac:spMkLst>
        </pc:spChg>
        <pc:spChg chg="add del mod">
          <ac:chgData name="Thomas Stensitzki" userId="75cafe6b-2f2a-469b-85c4-eec3b9c972ba" providerId="ADAL" clId="{07400056-9986-479D-B453-47B484FEC0A9}" dt="2023-12-04T17:49:37.634" v="1086" actId="478"/>
          <ac:spMkLst>
            <pc:docMk/>
            <pc:sldMk cId="1317890510" sldId="789"/>
            <ac:spMk id="5" creationId="{C2AC9233-ADC3-93DF-C79C-D0931BBA87ED}"/>
          </ac:spMkLst>
        </pc:spChg>
        <pc:picChg chg="add mod">
          <ac:chgData name="Thomas Stensitzki" userId="75cafe6b-2f2a-469b-85c4-eec3b9c972ba" providerId="ADAL" clId="{07400056-9986-479D-B453-47B484FEC0A9}" dt="2023-12-04T17:49:52.101" v="1090" actId="1440"/>
          <ac:picMkLst>
            <pc:docMk/>
            <pc:sldMk cId="1317890510" sldId="789"/>
            <ac:picMk id="1026" creationId="{FE10055E-8E7E-D656-1F0F-76803EBFA0EE}"/>
          </ac:picMkLst>
        </pc:picChg>
      </pc:sldChg>
      <pc:sldChg chg="addSp delSp modSp add">
        <pc:chgData name="Thomas Stensitzki" userId="75cafe6b-2f2a-469b-85c4-eec3b9c972ba" providerId="ADAL" clId="{07400056-9986-479D-B453-47B484FEC0A9}" dt="2023-12-04T17:50:16.952" v="1094" actId="1440"/>
        <pc:sldMkLst>
          <pc:docMk/>
          <pc:sldMk cId="2940968406" sldId="790"/>
        </pc:sldMkLst>
        <pc:picChg chg="del">
          <ac:chgData name="Thomas Stensitzki" userId="75cafe6b-2f2a-469b-85c4-eec3b9c972ba" providerId="ADAL" clId="{07400056-9986-479D-B453-47B484FEC0A9}" dt="2023-12-04T17:50:06.656" v="1092" actId="478"/>
          <ac:picMkLst>
            <pc:docMk/>
            <pc:sldMk cId="2940968406" sldId="790"/>
            <ac:picMk id="1026" creationId="{FE10055E-8E7E-D656-1F0F-76803EBFA0EE}"/>
          </ac:picMkLst>
        </pc:picChg>
        <pc:picChg chg="add mod">
          <ac:chgData name="Thomas Stensitzki" userId="75cafe6b-2f2a-469b-85c4-eec3b9c972ba" providerId="ADAL" clId="{07400056-9986-479D-B453-47B484FEC0A9}" dt="2023-12-04T17:50:16.952" v="1094" actId="1440"/>
          <ac:picMkLst>
            <pc:docMk/>
            <pc:sldMk cId="2940968406" sldId="790"/>
            <ac:picMk id="2050" creationId="{53546701-04DA-BB3D-E071-CCDCA6BD3160}"/>
          </ac:picMkLst>
        </pc:picChg>
      </pc:sldChg>
      <pc:sldChg chg="addSp modSp new mod">
        <pc:chgData name="Thomas Stensitzki" userId="75cafe6b-2f2a-469b-85c4-eec3b9c972ba" providerId="ADAL" clId="{07400056-9986-479D-B453-47B484FEC0A9}" dt="2023-12-04T17:55:33.959" v="1342" actId="1440"/>
        <pc:sldMkLst>
          <pc:docMk/>
          <pc:sldMk cId="546959564" sldId="791"/>
        </pc:sldMkLst>
        <pc:spChg chg="mod">
          <ac:chgData name="Thomas Stensitzki" userId="75cafe6b-2f2a-469b-85c4-eec3b9c972ba" providerId="ADAL" clId="{07400056-9986-479D-B453-47B484FEC0A9}" dt="2023-12-04T17:53:10.078" v="1215"/>
          <ac:spMkLst>
            <pc:docMk/>
            <pc:sldMk cId="546959564" sldId="791"/>
            <ac:spMk id="2" creationId="{C80CBA98-16D6-FAE3-CDCA-D8C879EF6D83}"/>
          </ac:spMkLst>
        </pc:spChg>
        <pc:spChg chg="mod">
          <ac:chgData name="Thomas Stensitzki" userId="75cafe6b-2f2a-469b-85c4-eec3b9c972ba" providerId="ADAL" clId="{07400056-9986-479D-B453-47B484FEC0A9}" dt="2023-12-04T17:55:25.791" v="1341" actId="14100"/>
          <ac:spMkLst>
            <pc:docMk/>
            <pc:sldMk cId="546959564" sldId="791"/>
            <ac:spMk id="3" creationId="{BB3C2F80-476C-5030-E8CF-CC20B25EFB9E}"/>
          </ac:spMkLst>
        </pc:spChg>
        <pc:picChg chg="add mod">
          <ac:chgData name="Thomas Stensitzki" userId="75cafe6b-2f2a-469b-85c4-eec3b9c972ba" providerId="ADAL" clId="{07400056-9986-479D-B453-47B484FEC0A9}" dt="2023-12-04T17:55:33.959" v="1342" actId="1440"/>
          <ac:picMkLst>
            <pc:docMk/>
            <pc:sldMk cId="546959564" sldId="791"/>
            <ac:picMk id="3074" creationId="{9E76A532-8552-72C8-CAFC-9BDFFAA1ABE2}"/>
          </ac:picMkLst>
        </pc:picChg>
      </pc:sldChg>
      <pc:sldChg chg="modSp new mod">
        <pc:chgData name="Thomas Stensitzki" userId="75cafe6b-2f2a-469b-85c4-eec3b9c972ba" providerId="ADAL" clId="{07400056-9986-479D-B453-47B484FEC0A9}" dt="2023-12-04T18:00:13.228" v="1639" actId="20577"/>
        <pc:sldMkLst>
          <pc:docMk/>
          <pc:sldMk cId="193933266" sldId="792"/>
        </pc:sldMkLst>
        <pc:spChg chg="mod">
          <ac:chgData name="Thomas Stensitzki" userId="75cafe6b-2f2a-469b-85c4-eec3b9c972ba" providerId="ADAL" clId="{07400056-9986-479D-B453-47B484FEC0A9}" dt="2023-12-04T17:57:13.068" v="1350"/>
          <ac:spMkLst>
            <pc:docMk/>
            <pc:sldMk cId="193933266" sldId="792"/>
            <ac:spMk id="2" creationId="{F55081AF-D9C8-838D-615A-96392EF02305}"/>
          </ac:spMkLst>
        </pc:spChg>
        <pc:spChg chg="mod">
          <ac:chgData name="Thomas Stensitzki" userId="75cafe6b-2f2a-469b-85c4-eec3b9c972ba" providerId="ADAL" clId="{07400056-9986-479D-B453-47B484FEC0A9}" dt="2023-12-04T18:00:13.228" v="1639" actId="20577"/>
          <ac:spMkLst>
            <pc:docMk/>
            <pc:sldMk cId="193933266" sldId="792"/>
            <ac:spMk id="3" creationId="{87803E2D-6F7B-F3F9-2FE5-3ABC7DF11C28}"/>
          </ac:spMkLst>
        </pc:spChg>
      </pc:sldChg>
      <pc:sldChg chg="addSp delSp modSp add mod">
        <pc:chgData name="Thomas Stensitzki" userId="75cafe6b-2f2a-469b-85c4-eec3b9c972ba" providerId="ADAL" clId="{07400056-9986-479D-B453-47B484FEC0A9}" dt="2023-12-04T18:01:35.646" v="1655" actId="14100"/>
        <pc:sldMkLst>
          <pc:docMk/>
          <pc:sldMk cId="3166382124" sldId="793"/>
        </pc:sldMkLst>
        <pc:spChg chg="del">
          <ac:chgData name="Thomas Stensitzki" userId="75cafe6b-2f2a-469b-85c4-eec3b9c972ba" providerId="ADAL" clId="{07400056-9986-479D-B453-47B484FEC0A9}" dt="2023-12-04T18:00:27.227" v="1641" actId="478"/>
          <ac:spMkLst>
            <pc:docMk/>
            <pc:sldMk cId="3166382124" sldId="793"/>
            <ac:spMk id="3" creationId="{87803E2D-6F7B-F3F9-2FE5-3ABC7DF11C28}"/>
          </ac:spMkLst>
        </pc:spChg>
        <pc:spChg chg="add del mod">
          <ac:chgData name="Thomas Stensitzki" userId="75cafe6b-2f2a-469b-85c4-eec3b9c972ba" providerId="ADAL" clId="{07400056-9986-479D-B453-47B484FEC0A9}" dt="2023-12-04T18:00:32.621" v="1642" actId="478"/>
          <ac:spMkLst>
            <pc:docMk/>
            <pc:sldMk cId="3166382124" sldId="793"/>
            <ac:spMk id="5" creationId="{EB4ADDBD-13E7-0B37-30B2-154D93F464BD}"/>
          </ac:spMkLst>
        </pc:spChg>
        <pc:spChg chg="add del">
          <ac:chgData name="Thomas Stensitzki" userId="75cafe6b-2f2a-469b-85c4-eec3b9c972ba" providerId="ADAL" clId="{07400056-9986-479D-B453-47B484FEC0A9}" dt="2023-12-04T18:00:35.480" v="1644" actId="22"/>
          <ac:spMkLst>
            <pc:docMk/>
            <pc:sldMk cId="3166382124" sldId="793"/>
            <ac:spMk id="7" creationId="{C4BDA151-A929-F343-9272-8C6BEF895477}"/>
          </ac:spMkLst>
        </pc:spChg>
        <pc:spChg chg="add mod">
          <ac:chgData name="Thomas Stensitzki" userId="75cafe6b-2f2a-469b-85c4-eec3b9c972ba" providerId="ADAL" clId="{07400056-9986-479D-B453-47B484FEC0A9}" dt="2023-12-04T18:01:26.189" v="1652" actId="14100"/>
          <ac:spMkLst>
            <pc:docMk/>
            <pc:sldMk cId="3166382124" sldId="793"/>
            <ac:spMk id="10" creationId="{4EDF85B8-D24E-2DDF-B0EC-4DDE12768F65}"/>
          </ac:spMkLst>
        </pc:spChg>
        <pc:spChg chg="add mod">
          <ac:chgData name="Thomas Stensitzki" userId="75cafe6b-2f2a-469b-85c4-eec3b9c972ba" providerId="ADAL" clId="{07400056-9986-479D-B453-47B484FEC0A9}" dt="2023-12-04T18:01:35.646" v="1655" actId="14100"/>
          <ac:spMkLst>
            <pc:docMk/>
            <pc:sldMk cId="3166382124" sldId="793"/>
            <ac:spMk id="11" creationId="{277F5246-27E5-7444-20A1-67DE2C450159}"/>
          </ac:spMkLst>
        </pc:spChg>
        <pc:picChg chg="add mod">
          <ac:chgData name="Thomas Stensitzki" userId="75cafe6b-2f2a-469b-85c4-eec3b9c972ba" providerId="ADAL" clId="{07400056-9986-479D-B453-47B484FEC0A9}" dt="2023-12-04T18:00:53.105" v="1647" actId="1440"/>
          <ac:picMkLst>
            <pc:docMk/>
            <pc:sldMk cId="3166382124" sldId="793"/>
            <ac:picMk id="9" creationId="{90A524DF-91FA-6176-2A80-34D0DBF5FD98}"/>
          </ac:picMkLst>
        </pc:picChg>
      </pc:sldChg>
      <pc:sldChg chg="modSp new mod">
        <pc:chgData name="Thomas Stensitzki" userId="75cafe6b-2f2a-469b-85c4-eec3b9c972ba" providerId="ADAL" clId="{07400056-9986-479D-B453-47B484FEC0A9}" dt="2023-12-04T18:07:24.636" v="1912" actId="6549"/>
        <pc:sldMkLst>
          <pc:docMk/>
          <pc:sldMk cId="1298245871" sldId="794"/>
        </pc:sldMkLst>
        <pc:spChg chg="mod">
          <ac:chgData name="Thomas Stensitzki" userId="75cafe6b-2f2a-469b-85c4-eec3b9c972ba" providerId="ADAL" clId="{07400056-9986-479D-B453-47B484FEC0A9}" dt="2023-12-04T18:04:30.417" v="1659"/>
          <ac:spMkLst>
            <pc:docMk/>
            <pc:sldMk cId="1298245871" sldId="794"/>
            <ac:spMk id="2" creationId="{C0F0071F-7196-73AB-A813-F4DE45B6203E}"/>
          </ac:spMkLst>
        </pc:spChg>
        <pc:spChg chg="mod">
          <ac:chgData name="Thomas Stensitzki" userId="75cafe6b-2f2a-469b-85c4-eec3b9c972ba" providerId="ADAL" clId="{07400056-9986-479D-B453-47B484FEC0A9}" dt="2023-12-04T18:07:24.636" v="1912" actId="6549"/>
          <ac:spMkLst>
            <pc:docMk/>
            <pc:sldMk cId="1298245871" sldId="794"/>
            <ac:spMk id="3" creationId="{536A0348-3867-A8F3-0A78-345DEB17AC99}"/>
          </ac:spMkLst>
        </pc:spChg>
      </pc:sldChg>
      <pc:sldChg chg="addSp modSp new mod">
        <pc:chgData name="Thomas Stensitzki" userId="75cafe6b-2f2a-469b-85c4-eec3b9c972ba" providerId="ADAL" clId="{07400056-9986-479D-B453-47B484FEC0A9}" dt="2023-12-04T18:10:03.759" v="2087"/>
        <pc:sldMkLst>
          <pc:docMk/>
          <pc:sldMk cId="4022423974" sldId="795"/>
        </pc:sldMkLst>
        <pc:spChg chg="mod">
          <ac:chgData name="Thomas Stensitzki" userId="75cafe6b-2f2a-469b-85c4-eec3b9c972ba" providerId="ADAL" clId="{07400056-9986-479D-B453-47B484FEC0A9}" dt="2023-12-04T18:07:58.101" v="1916"/>
          <ac:spMkLst>
            <pc:docMk/>
            <pc:sldMk cId="4022423974" sldId="795"/>
            <ac:spMk id="2" creationId="{5EACB00B-D976-F4B5-A542-07A0F0A1E03E}"/>
          </ac:spMkLst>
        </pc:spChg>
        <pc:spChg chg="mod">
          <ac:chgData name="Thomas Stensitzki" userId="75cafe6b-2f2a-469b-85c4-eec3b9c972ba" providerId="ADAL" clId="{07400056-9986-479D-B453-47B484FEC0A9}" dt="2023-12-04T18:09:25.950" v="2086" actId="20577"/>
          <ac:spMkLst>
            <pc:docMk/>
            <pc:sldMk cId="4022423974" sldId="795"/>
            <ac:spMk id="3" creationId="{B72D1A84-4624-FF3E-BB7C-E0A177794499}"/>
          </ac:spMkLst>
        </pc:spChg>
        <pc:spChg chg="add mod">
          <ac:chgData name="Thomas Stensitzki" userId="75cafe6b-2f2a-469b-85c4-eec3b9c972ba" providerId="ADAL" clId="{07400056-9986-479D-B453-47B484FEC0A9}" dt="2023-12-04T18:10:03.759" v="2087"/>
          <ac:spMkLst>
            <pc:docMk/>
            <pc:sldMk cId="4022423974" sldId="795"/>
            <ac:spMk id="4" creationId="{7B2C5E8D-1FE0-934F-3089-A4F4403DC7AB}"/>
          </ac:spMkLst>
        </pc:spChg>
      </pc:sldChg>
      <pc:sldChg chg="addSp delSp modSp new mod">
        <pc:chgData name="Thomas Stensitzki" userId="75cafe6b-2f2a-469b-85c4-eec3b9c972ba" providerId="ADAL" clId="{07400056-9986-479D-B453-47B484FEC0A9}" dt="2023-12-04T18:20:48.108" v="2111" actId="14100"/>
        <pc:sldMkLst>
          <pc:docMk/>
          <pc:sldMk cId="29584537" sldId="796"/>
        </pc:sldMkLst>
        <pc:spChg chg="mod">
          <ac:chgData name="Thomas Stensitzki" userId="75cafe6b-2f2a-469b-85c4-eec3b9c972ba" providerId="ADAL" clId="{07400056-9986-479D-B453-47B484FEC0A9}" dt="2023-12-04T18:18:45.027" v="2093"/>
          <ac:spMkLst>
            <pc:docMk/>
            <pc:sldMk cId="29584537" sldId="796"/>
            <ac:spMk id="2" creationId="{AED3CA50-B9E3-1BA8-13B7-6553742A75BB}"/>
          </ac:spMkLst>
        </pc:spChg>
        <pc:spChg chg="del">
          <ac:chgData name="Thomas Stensitzki" userId="75cafe6b-2f2a-469b-85c4-eec3b9c972ba" providerId="ADAL" clId="{07400056-9986-479D-B453-47B484FEC0A9}" dt="2023-12-04T18:18:55.857" v="2094" actId="478"/>
          <ac:spMkLst>
            <pc:docMk/>
            <pc:sldMk cId="29584537" sldId="796"/>
            <ac:spMk id="3" creationId="{F30B4679-9469-0AF9-130F-E5311BAE2441}"/>
          </ac:spMkLst>
        </pc:spChg>
        <pc:spChg chg="add mod">
          <ac:chgData name="Thomas Stensitzki" userId="75cafe6b-2f2a-469b-85c4-eec3b9c972ba" providerId="ADAL" clId="{07400056-9986-479D-B453-47B484FEC0A9}" dt="2023-12-04T18:20:48.108" v="2111" actId="14100"/>
          <ac:spMkLst>
            <pc:docMk/>
            <pc:sldMk cId="29584537" sldId="796"/>
            <ac:spMk id="4" creationId="{8BCA6167-C3EA-5F22-0965-1CF66A96DA21}"/>
          </ac:spMkLst>
        </pc:spChg>
        <pc:picChg chg="add mod">
          <ac:chgData name="Thomas Stensitzki" userId="75cafe6b-2f2a-469b-85c4-eec3b9c972ba" providerId="ADAL" clId="{07400056-9986-479D-B453-47B484FEC0A9}" dt="2023-12-04T18:20:22.935" v="2106" actId="732"/>
          <ac:picMkLst>
            <pc:docMk/>
            <pc:sldMk cId="29584537" sldId="796"/>
            <ac:picMk id="4098" creationId="{FE85DE35-AB4A-490F-1310-B0787D0CA806}"/>
          </ac:picMkLst>
        </pc:picChg>
      </pc:sldChg>
      <pc:sldChg chg="modSp new mod">
        <pc:chgData name="Thomas Stensitzki" userId="75cafe6b-2f2a-469b-85c4-eec3b9c972ba" providerId="ADAL" clId="{07400056-9986-479D-B453-47B484FEC0A9}" dt="2023-12-04T18:24:39.046" v="2266" actId="5793"/>
        <pc:sldMkLst>
          <pc:docMk/>
          <pc:sldMk cId="2878585668" sldId="797"/>
        </pc:sldMkLst>
        <pc:spChg chg="mod">
          <ac:chgData name="Thomas Stensitzki" userId="75cafe6b-2f2a-469b-85c4-eec3b9c972ba" providerId="ADAL" clId="{07400056-9986-479D-B453-47B484FEC0A9}" dt="2023-12-04T18:23:45.631" v="2119"/>
          <ac:spMkLst>
            <pc:docMk/>
            <pc:sldMk cId="2878585668" sldId="797"/>
            <ac:spMk id="2" creationId="{31448C4F-B1D3-7020-1CC0-D94173997519}"/>
          </ac:spMkLst>
        </pc:spChg>
        <pc:spChg chg="mod">
          <ac:chgData name="Thomas Stensitzki" userId="75cafe6b-2f2a-469b-85c4-eec3b9c972ba" providerId="ADAL" clId="{07400056-9986-479D-B453-47B484FEC0A9}" dt="2023-12-04T18:24:39.046" v="2266" actId="5793"/>
          <ac:spMkLst>
            <pc:docMk/>
            <pc:sldMk cId="2878585668" sldId="797"/>
            <ac:spMk id="3" creationId="{AACB2A52-D43E-E5A1-2E10-2920EF88CEF0}"/>
          </ac:spMkLst>
        </pc:spChg>
      </pc:sldChg>
      <pc:sldChg chg="addSp delSp modSp add mod">
        <pc:chgData name="Thomas Stensitzki" userId="75cafe6b-2f2a-469b-85c4-eec3b9c972ba" providerId="ADAL" clId="{07400056-9986-479D-B453-47B484FEC0A9}" dt="2023-12-04T18:25:53.515" v="2273" actId="1440"/>
        <pc:sldMkLst>
          <pc:docMk/>
          <pc:sldMk cId="1816593351" sldId="798"/>
        </pc:sldMkLst>
        <pc:spChg chg="del">
          <ac:chgData name="Thomas Stensitzki" userId="75cafe6b-2f2a-469b-85c4-eec3b9c972ba" providerId="ADAL" clId="{07400056-9986-479D-B453-47B484FEC0A9}" dt="2023-12-04T18:25:40.677" v="2268" actId="478"/>
          <ac:spMkLst>
            <pc:docMk/>
            <pc:sldMk cId="1816593351" sldId="798"/>
            <ac:spMk id="3" creationId="{AACB2A52-D43E-E5A1-2E10-2920EF88CEF0}"/>
          </ac:spMkLst>
        </pc:spChg>
        <pc:spChg chg="add del mod">
          <ac:chgData name="Thomas Stensitzki" userId="75cafe6b-2f2a-469b-85c4-eec3b9c972ba" providerId="ADAL" clId="{07400056-9986-479D-B453-47B484FEC0A9}" dt="2023-12-04T18:25:41.454" v="2269" actId="478"/>
          <ac:spMkLst>
            <pc:docMk/>
            <pc:sldMk cId="1816593351" sldId="798"/>
            <ac:spMk id="5" creationId="{0432193B-7AAC-9DC0-F0F0-00849078B2A4}"/>
          </ac:spMkLst>
        </pc:spChg>
        <pc:picChg chg="add mod">
          <ac:chgData name="Thomas Stensitzki" userId="75cafe6b-2f2a-469b-85c4-eec3b9c972ba" providerId="ADAL" clId="{07400056-9986-479D-B453-47B484FEC0A9}" dt="2023-12-04T18:25:53.515" v="2273" actId="1440"/>
          <ac:picMkLst>
            <pc:docMk/>
            <pc:sldMk cId="1816593351" sldId="798"/>
            <ac:picMk id="7" creationId="{C1277FDF-F394-7472-BB15-B66AACD35F02}"/>
          </ac:picMkLst>
        </pc:picChg>
      </pc:sldChg>
      <pc:sldChg chg="addSp delSp modSp new mod modClrScheme chgLayout">
        <pc:chgData name="Thomas Stensitzki" userId="75cafe6b-2f2a-469b-85c4-eec3b9c972ba" providerId="ADAL" clId="{07400056-9986-479D-B453-47B484FEC0A9}" dt="2023-12-05T11:29:38.064" v="2352" actId="1076"/>
        <pc:sldMkLst>
          <pc:docMk/>
          <pc:sldMk cId="637214480" sldId="799"/>
        </pc:sldMkLst>
        <pc:spChg chg="del mod ord">
          <ac:chgData name="Thomas Stensitzki" userId="75cafe6b-2f2a-469b-85c4-eec3b9c972ba" providerId="ADAL" clId="{07400056-9986-479D-B453-47B484FEC0A9}" dt="2023-12-05T11:27:31.682" v="2338" actId="700"/>
          <ac:spMkLst>
            <pc:docMk/>
            <pc:sldMk cId="637214480" sldId="799"/>
            <ac:spMk id="2" creationId="{4AFF3326-E9DB-8F09-59F4-CA799F90D7CE}"/>
          </ac:spMkLst>
        </pc:spChg>
        <pc:spChg chg="del mod ord">
          <ac:chgData name="Thomas Stensitzki" userId="75cafe6b-2f2a-469b-85c4-eec3b9c972ba" providerId="ADAL" clId="{07400056-9986-479D-B453-47B484FEC0A9}" dt="2023-12-05T11:27:31.682" v="2338" actId="700"/>
          <ac:spMkLst>
            <pc:docMk/>
            <pc:sldMk cId="637214480" sldId="799"/>
            <ac:spMk id="3" creationId="{23ED7882-1DD6-014F-58C8-A35A4F1A7E59}"/>
          </ac:spMkLst>
        </pc:spChg>
        <pc:spChg chg="add mod ord">
          <ac:chgData name="Thomas Stensitzki" userId="75cafe6b-2f2a-469b-85c4-eec3b9c972ba" providerId="ADAL" clId="{07400056-9986-479D-B453-47B484FEC0A9}" dt="2023-12-05T11:28:00.939" v="2347" actId="20577"/>
          <ac:spMkLst>
            <pc:docMk/>
            <pc:sldMk cId="637214480" sldId="799"/>
            <ac:spMk id="4" creationId="{79D15E72-51A7-E7E1-DAA9-0DDB8D672E43}"/>
          </ac:spMkLst>
        </pc:spChg>
        <pc:spChg chg="add mod ord">
          <ac:chgData name="Thomas Stensitzki" userId="75cafe6b-2f2a-469b-85c4-eec3b9c972ba" providerId="ADAL" clId="{07400056-9986-479D-B453-47B484FEC0A9}" dt="2023-12-05T11:28:07.688" v="2349" actId="20577"/>
          <ac:spMkLst>
            <pc:docMk/>
            <pc:sldMk cId="637214480" sldId="799"/>
            <ac:spMk id="5" creationId="{0F34587B-7B2E-CE23-2A93-648A846C076A}"/>
          </ac:spMkLst>
        </pc:spChg>
        <pc:picChg chg="add mod">
          <ac:chgData name="Thomas Stensitzki" userId="75cafe6b-2f2a-469b-85c4-eec3b9c972ba" providerId="ADAL" clId="{07400056-9986-479D-B453-47B484FEC0A9}" dt="2023-12-05T11:29:38.064" v="2352" actId="1076"/>
          <ac:picMkLst>
            <pc:docMk/>
            <pc:sldMk cId="637214480" sldId="799"/>
            <ac:picMk id="7" creationId="{A23D7302-83AF-1250-624A-1D0916FD321D}"/>
          </ac:picMkLst>
        </pc:picChg>
      </pc:sldChg>
      <pc:sldChg chg="modSp add mod ord">
        <pc:chgData name="Thomas Stensitzki" userId="75cafe6b-2f2a-469b-85c4-eec3b9c972ba" providerId="ADAL" clId="{07400056-9986-479D-B453-47B484FEC0A9}" dt="2023-12-05T11:30:30.826" v="2405" actId="20577"/>
        <pc:sldMkLst>
          <pc:docMk/>
          <pc:sldMk cId="2236025408" sldId="800"/>
        </pc:sldMkLst>
        <pc:spChg chg="mod">
          <ac:chgData name="Thomas Stensitzki" userId="75cafe6b-2f2a-469b-85c4-eec3b9c972ba" providerId="ADAL" clId="{07400056-9986-479D-B453-47B484FEC0A9}" dt="2023-12-05T11:30:22.551" v="2395" actId="20577"/>
          <ac:spMkLst>
            <pc:docMk/>
            <pc:sldMk cId="2236025408" sldId="800"/>
            <ac:spMk id="4" creationId="{F3A15CBD-C746-44A3-A4F0-4898CE2F02E6}"/>
          </ac:spMkLst>
        </pc:spChg>
        <pc:spChg chg="mod">
          <ac:chgData name="Thomas Stensitzki" userId="75cafe6b-2f2a-469b-85c4-eec3b9c972ba" providerId="ADAL" clId="{07400056-9986-479D-B453-47B484FEC0A9}" dt="2023-12-05T11:30:30.826" v="2405" actId="20577"/>
          <ac:spMkLst>
            <pc:docMk/>
            <pc:sldMk cId="2236025408" sldId="800"/>
            <ac:spMk id="5" creationId="{F3459BE7-1731-4733-A912-12977C68CFD6}"/>
          </ac:spMkLst>
        </pc:spChg>
      </pc:sldChg>
      <pc:sldChg chg="modSp add mod ord">
        <pc:chgData name="Thomas Stensitzki" userId="75cafe6b-2f2a-469b-85c4-eec3b9c972ba" providerId="ADAL" clId="{07400056-9986-479D-B453-47B484FEC0A9}" dt="2023-12-07T10:06:11.706" v="2491" actId="1035"/>
        <pc:sldMkLst>
          <pc:docMk/>
          <pc:sldMk cId="1384083710" sldId="801"/>
        </pc:sldMkLst>
        <pc:spChg chg="mod">
          <ac:chgData name="Thomas Stensitzki" userId="75cafe6b-2f2a-469b-85c4-eec3b9c972ba" providerId="ADAL" clId="{07400056-9986-479D-B453-47B484FEC0A9}" dt="2023-12-07T10:06:11.706" v="2491" actId="1035"/>
          <ac:spMkLst>
            <pc:docMk/>
            <pc:sldMk cId="1384083710" sldId="801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07400056-9986-479D-B453-47B484FEC0A9}" dt="2023-12-07T10:06:30.138" v="2524" actId="1035"/>
        <pc:sldMkLst>
          <pc:docMk/>
          <pc:sldMk cId="3277662355" sldId="802"/>
        </pc:sldMkLst>
        <pc:spChg chg="mod">
          <ac:chgData name="Thomas Stensitzki" userId="75cafe6b-2f2a-469b-85c4-eec3b9c972ba" providerId="ADAL" clId="{07400056-9986-479D-B453-47B484FEC0A9}" dt="2023-12-07T10:06:30.138" v="2524" actId="1035"/>
          <ac:spMkLst>
            <pc:docMk/>
            <pc:sldMk cId="3277662355" sldId="802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07400056-9986-479D-B453-47B484FEC0A9}" dt="2023-12-07T10:06:44.602" v="2554" actId="1035"/>
        <pc:sldMkLst>
          <pc:docMk/>
          <pc:sldMk cId="1639868060" sldId="803"/>
        </pc:sldMkLst>
        <pc:spChg chg="mod">
          <ac:chgData name="Thomas Stensitzki" userId="75cafe6b-2f2a-469b-85c4-eec3b9c972ba" providerId="ADAL" clId="{07400056-9986-479D-B453-47B484FEC0A9}" dt="2023-12-07T10:06:44.602" v="2554" actId="1035"/>
          <ac:spMkLst>
            <pc:docMk/>
            <pc:sldMk cId="1639868060" sldId="803"/>
            <ac:spMk id="2" creationId="{909DC09D-B9A6-4493-9A72-1CA7ECB1F5CA}"/>
          </ac:spMkLst>
        </pc:spChg>
      </pc:sldChg>
      <pc:sldChg chg="modSp add mod">
        <pc:chgData name="Thomas Stensitzki" userId="75cafe6b-2f2a-469b-85c4-eec3b9c972ba" providerId="ADAL" clId="{07400056-9986-479D-B453-47B484FEC0A9}" dt="2023-12-07T10:06:51.798" v="2572" actId="1035"/>
        <pc:sldMkLst>
          <pc:docMk/>
          <pc:sldMk cId="837969311" sldId="804"/>
        </pc:sldMkLst>
        <pc:spChg chg="mod">
          <ac:chgData name="Thomas Stensitzki" userId="75cafe6b-2f2a-469b-85c4-eec3b9c972ba" providerId="ADAL" clId="{07400056-9986-479D-B453-47B484FEC0A9}" dt="2023-12-07T10:06:51.798" v="2572" actId="1035"/>
          <ac:spMkLst>
            <pc:docMk/>
            <pc:sldMk cId="837969311" sldId="804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07400056-9986-479D-B453-47B484FEC0A9}" dt="2023-12-07T10:07:11.239" v="2593" actId="14100"/>
        <pc:sldMkLst>
          <pc:docMk/>
          <pc:sldMk cId="3723091307" sldId="805"/>
        </pc:sldMkLst>
        <pc:spChg chg="mod">
          <ac:chgData name="Thomas Stensitzki" userId="75cafe6b-2f2a-469b-85c4-eec3b9c972ba" providerId="ADAL" clId="{07400056-9986-479D-B453-47B484FEC0A9}" dt="2023-12-07T10:07:11.239" v="2593" actId="14100"/>
          <ac:spMkLst>
            <pc:docMk/>
            <pc:sldMk cId="3723091307" sldId="805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07400056-9986-479D-B453-47B484FEC0A9}" dt="2023-12-07T10:07:19.917" v="2597" actId="1076"/>
        <pc:sldMkLst>
          <pc:docMk/>
          <pc:sldMk cId="2299597820" sldId="806"/>
        </pc:sldMkLst>
        <pc:spChg chg="mod">
          <ac:chgData name="Thomas Stensitzki" userId="75cafe6b-2f2a-469b-85c4-eec3b9c972ba" providerId="ADAL" clId="{07400056-9986-479D-B453-47B484FEC0A9}" dt="2023-12-07T10:07:19.917" v="2597" actId="1076"/>
          <ac:spMkLst>
            <pc:docMk/>
            <pc:sldMk cId="2299597820" sldId="806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07400056-9986-479D-B453-47B484FEC0A9}" dt="2023-12-07T10:07:31.430" v="2601" actId="1076"/>
        <pc:sldMkLst>
          <pc:docMk/>
          <pc:sldMk cId="2929813273" sldId="807"/>
        </pc:sldMkLst>
        <pc:spChg chg="mod">
          <ac:chgData name="Thomas Stensitzki" userId="75cafe6b-2f2a-469b-85c4-eec3b9c972ba" providerId="ADAL" clId="{07400056-9986-479D-B453-47B484FEC0A9}" dt="2023-12-07T10:07:31.430" v="2601" actId="1076"/>
          <ac:spMkLst>
            <pc:docMk/>
            <pc:sldMk cId="2929813273" sldId="807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07400056-9986-479D-B453-47B484FEC0A9}" dt="2023-12-07T10:07:45.994" v="2606" actId="14100"/>
        <pc:sldMkLst>
          <pc:docMk/>
          <pc:sldMk cId="1048868386" sldId="808"/>
        </pc:sldMkLst>
        <pc:spChg chg="mod">
          <ac:chgData name="Thomas Stensitzki" userId="75cafe6b-2f2a-469b-85c4-eec3b9c972ba" providerId="ADAL" clId="{07400056-9986-479D-B453-47B484FEC0A9}" dt="2023-12-07T10:07:45.994" v="2606" actId="14100"/>
          <ac:spMkLst>
            <pc:docMk/>
            <pc:sldMk cId="1048868386" sldId="808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07400056-9986-479D-B453-47B484FEC0A9}" dt="2023-12-07T10:08:02.137" v="2610" actId="1076"/>
        <pc:sldMkLst>
          <pc:docMk/>
          <pc:sldMk cId="2277331612" sldId="809"/>
        </pc:sldMkLst>
        <pc:spChg chg="mod">
          <ac:chgData name="Thomas Stensitzki" userId="75cafe6b-2f2a-469b-85c4-eec3b9c972ba" providerId="ADAL" clId="{07400056-9986-479D-B453-47B484FEC0A9}" dt="2023-12-07T10:08:02.137" v="2610" actId="1076"/>
          <ac:spMkLst>
            <pc:docMk/>
            <pc:sldMk cId="2277331612" sldId="809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07400056-9986-479D-B453-47B484FEC0A9}" dt="2023-12-07T10:08:10.286" v="2614" actId="1076"/>
        <pc:sldMkLst>
          <pc:docMk/>
          <pc:sldMk cId="2767561560" sldId="810"/>
        </pc:sldMkLst>
        <pc:spChg chg="mod">
          <ac:chgData name="Thomas Stensitzki" userId="75cafe6b-2f2a-469b-85c4-eec3b9c972ba" providerId="ADAL" clId="{07400056-9986-479D-B453-47B484FEC0A9}" dt="2023-12-07T10:08:10.286" v="2614" actId="1076"/>
          <ac:spMkLst>
            <pc:docMk/>
            <pc:sldMk cId="2767561560" sldId="810"/>
            <ac:spMk id="2" creationId="{909DC09D-B9A6-4493-9A72-1CA7ECB1F5CA}"/>
          </ac:spMkLst>
        </pc:spChg>
      </pc:sldChg>
      <pc:sldMasterChg chg="modSp mod modSldLayout">
        <pc:chgData name="Thomas Stensitzki" userId="75cafe6b-2f2a-469b-85c4-eec3b9c972ba" providerId="ADAL" clId="{07400056-9986-479D-B453-47B484FEC0A9}" dt="2023-12-05T11:33:02.442" v="2426" actId="14100"/>
        <pc:sldMasterMkLst>
          <pc:docMk/>
          <pc:sldMasterMk cId="277911257" sldId="2147483648"/>
        </pc:sldMasterMkLst>
        <pc:spChg chg="mod">
          <ac:chgData name="Thomas Stensitzki" userId="75cafe6b-2f2a-469b-85c4-eec3b9c972ba" providerId="ADAL" clId="{07400056-9986-479D-B453-47B484FEC0A9}" dt="2023-12-05T11:32:21.001" v="2424" actId="14100"/>
          <ac:spMkLst>
            <pc:docMk/>
            <pc:sldMasterMk cId="277911257" sldId="2147483648"/>
            <ac:spMk id="9" creationId="{2406A12C-E783-4BE5-BEFC-AA493EA54917}"/>
          </ac:spMkLst>
        </pc:spChg>
        <pc:sldLayoutChg chg="modSp mod">
          <pc:chgData name="Thomas Stensitzki" userId="75cafe6b-2f2a-469b-85c4-eec3b9c972ba" providerId="ADAL" clId="{07400056-9986-479D-B453-47B484FEC0A9}" dt="2023-12-05T11:33:02.442" v="2426" actId="14100"/>
          <pc:sldLayoutMkLst>
            <pc:docMk/>
            <pc:sldMasterMk cId="277911257" sldId="2147483648"/>
            <pc:sldLayoutMk cId="3364905932" sldId="2147483649"/>
          </pc:sldLayoutMkLst>
          <pc:spChg chg="mod">
            <ac:chgData name="Thomas Stensitzki" userId="75cafe6b-2f2a-469b-85c4-eec3b9c972ba" providerId="ADAL" clId="{07400056-9986-479D-B453-47B484FEC0A9}" dt="2023-12-05T11:33:02.442" v="2426" actId="14100"/>
            <ac:spMkLst>
              <pc:docMk/>
              <pc:sldMasterMk cId="277911257" sldId="2147483648"/>
              <pc:sldLayoutMk cId="3364905932" sldId="2147483649"/>
              <ac:spMk id="4" creationId="{DC492C04-9595-4D88-A6FA-ABEAC2147667}"/>
            </ac:spMkLst>
          </pc:spChg>
        </pc:sldLayoutChg>
      </pc:sldMasterChg>
    </pc:docChg>
  </pc:docChgLst>
  <pc:docChgLst>
    <pc:chgData name="Thomas Stensitzki" userId="S::thomas.stensitzki@granikos.eu::75cafe6b-2f2a-469b-85c4-eec3b9c972ba" providerId="AD" clId="Web-{B54B06DF-100B-44E6-958F-2F982B87E4AB}"/>
    <pc:docChg chg="addSld delSld modSld sldOrd modSection">
      <pc:chgData name="Thomas Stensitzki" userId="S::thomas.stensitzki@granikos.eu::75cafe6b-2f2a-469b-85c4-eec3b9c972ba" providerId="AD" clId="Web-{B54B06DF-100B-44E6-958F-2F982B87E4AB}" dt="2023-05-23T09:05:24.477" v="131"/>
      <pc:docMkLst>
        <pc:docMk/>
      </pc:docMkLst>
      <pc:sldChg chg="modTransition">
        <pc:chgData name="Thomas Stensitzki" userId="S::thomas.stensitzki@granikos.eu::75cafe6b-2f2a-469b-85c4-eec3b9c972ba" providerId="AD" clId="Web-{B54B06DF-100B-44E6-958F-2F982B87E4AB}" dt="2023-05-23T08:52:10.372" v="24"/>
        <pc:sldMkLst>
          <pc:docMk/>
          <pc:sldMk cId="671489701" sldId="256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72" v="26"/>
        <pc:sldMkLst>
          <pc:docMk/>
          <pc:sldMk cId="2855324227" sldId="257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88" v="87"/>
        <pc:sldMkLst>
          <pc:docMk/>
          <pc:sldMk cId="3332792154" sldId="258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72" v="25"/>
        <pc:sldMkLst>
          <pc:docMk/>
          <pc:sldMk cId="1545829058" sldId="259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72" v="27"/>
        <pc:sldMkLst>
          <pc:docMk/>
          <pc:sldMk cId="2698998357" sldId="260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72" v="29"/>
        <pc:sldMkLst>
          <pc:docMk/>
          <pc:sldMk cId="4007670073" sldId="268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88" v="81"/>
        <pc:sldMkLst>
          <pc:docMk/>
          <pc:sldMk cId="2721051844" sldId="269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88" v="88"/>
        <pc:sldMkLst>
          <pc:docMk/>
          <pc:sldMk cId="1928334901" sldId="295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88" v="83"/>
        <pc:sldMkLst>
          <pc:docMk/>
          <pc:sldMk cId="2814967912" sldId="311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72" v="30"/>
        <pc:sldMkLst>
          <pc:docMk/>
          <pc:sldMk cId="2227487991" sldId="378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88" v="84"/>
        <pc:sldMkLst>
          <pc:docMk/>
          <pc:sldMk cId="2923837414" sldId="513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88" v="82"/>
        <pc:sldMkLst>
          <pc:docMk/>
          <pc:sldMk cId="2395924320" sldId="514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72" v="48"/>
        <pc:sldMkLst>
          <pc:docMk/>
          <pc:sldMk cId="3797754622" sldId="515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88" v="86"/>
        <pc:sldMkLst>
          <pc:docMk/>
          <pc:sldMk cId="2791634409" sldId="560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72" v="28"/>
        <pc:sldMkLst>
          <pc:docMk/>
          <pc:sldMk cId="1051205786" sldId="607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72" v="47"/>
        <pc:sldMkLst>
          <pc:docMk/>
          <pc:sldMk cId="1962477249" sldId="659"/>
        </pc:sldMkLst>
      </pc:sldChg>
      <pc:sldChg chg="del">
        <pc:chgData name="Thomas Stensitzki" userId="S::thomas.stensitzki@granikos.eu::75cafe6b-2f2a-469b-85c4-eec3b9c972ba" providerId="AD" clId="Web-{B54B06DF-100B-44E6-958F-2F982B87E4AB}" dt="2023-05-23T08:50:43.635" v="18"/>
        <pc:sldMkLst>
          <pc:docMk/>
          <pc:sldMk cId="2553020497" sldId="660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88" v="71"/>
        <pc:sldMkLst>
          <pc:docMk/>
          <pc:sldMk cId="4212332529" sldId="661"/>
        </pc:sldMkLst>
      </pc:sldChg>
      <pc:sldChg chg="modSp modTransition">
        <pc:chgData name="Thomas Stensitzki" userId="S::thomas.stensitzki@granikos.eu::75cafe6b-2f2a-469b-85c4-eec3b9c972ba" providerId="AD" clId="Web-{B54B06DF-100B-44E6-958F-2F982B87E4AB}" dt="2023-05-23T08:52:10.388" v="80"/>
        <pc:sldMkLst>
          <pc:docMk/>
          <pc:sldMk cId="3400462124" sldId="662"/>
        </pc:sldMkLst>
        <pc:spChg chg="mod">
          <ac:chgData name="Thomas Stensitzki" userId="S::thomas.stensitzki@granikos.eu::75cafe6b-2f2a-469b-85c4-eec3b9c972ba" providerId="AD" clId="Web-{B54B06DF-100B-44E6-958F-2F982B87E4AB}" dt="2023-05-23T08:50:41.963" v="17" actId="20577"/>
          <ac:spMkLst>
            <pc:docMk/>
            <pc:sldMk cId="3400462124" sldId="662"/>
            <ac:spMk id="5" creationId="{E7E44277-3BFB-F197-AA87-8A0AE4DCEB5D}"/>
          </ac:spMkLst>
        </pc:spChg>
      </pc:sldChg>
      <pc:sldChg chg="modTransition">
        <pc:chgData name="Thomas Stensitzki" userId="S::thomas.stensitzki@granikos.eu::75cafe6b-2f2a-469b-85c4-eec3b9c972ba" providerId="AD" clId="Web-{B54B06DF-100B-44E6-958F-2F982B87E4AB}" dt="2023-05-23T08:52:10.388" v="72"/>
        <pc:sldMkLst>
          <pc:docMk/>
          <pc:sldMk cId="3908660988" sldId="663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88" v="78"/>
        <pc:sldMkLst>
          <pc:docMk/>
          <pc:sldMk cId="1830824739" sldId="664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88" v="73"/>
        <pc:sldMkLst>
          <pc:docMk/>
          <pc:sldMk cId="923570546" sldId="665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88" v="79"/>
        <pc:sldMkLst>
          <pc:docMk/>
          <pc:sldMk cId="2929133666" sldId="666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88" v="75"/>
        <pc:sldMkLst>
          <pc:docMk/>
          <pc:sldMk cId="3802477703" sldId="667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88" v="76"/>
        <pc:sldMkLst>
          <pc:docMk/>
          <pc:sldMk cId="1650060701" sldId="668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88" v="77"/>
        <pc:sldMkLst>
          <pc:docMk/>
          <pc:sldMk cId="3682317345" sldId="670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88" v="74"/>
        <pc:sldMkLst>
          <pc:docMk/>
          <pc:sldMk cId="2047617742" sldId="671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72" v="50"/>
        <pc:sldMkLst>
          <pc:docMk/>
          <pc:sldMk cId="3858958038" sldId="672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72" v="31"/>
        <pc:sldMkLst>
          <pc:docMk/>
          <pc:sldMk cId="3468202035" sldId="673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72" v="32"/>
        <pc:sldMkLst>
          <pc:docMk/>
          <pc:sldMk cId="2327618361" sldId="674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72" v="33"/>
        <pc:sldMkLst>
          <pc:docMk/>
          <pc:sldMk cId="1759168096" sldId="675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72" v="34"/>
        <pc:sldMkLst>
          <pc:docMk/>
          <pc:sldMk cId="1298798883" sldId="676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72" v="35"/>
        <pc:sldMkLst>
          <pc:docMk/>
          <pc:sldMk cId="548932751" sldId="677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88" v="92"/>
        <pc:sldMkLst>
          <pc:docMk/>
          <pc:sldMk cId="3589806354" sldId="678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72" v="36"/>
        <pc:sldMkLst>
          <pc:docMk/>
          <pc:sldMk cId="3797094460" sldId="679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72" v="37"/>
        <pc:sldMkLst>
          <pc:docMk/>
          <pc:sldMk cId="3004964480" sldId="680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72" v="38"/>
        <pc:sldMkLst>
          <pc:docMk/>
          <pc:sldMk cId="2318316286" sldId="681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72" v="39"/>
        <pc:sldMkLst>
          <pc:docMk/>
          <pc:sldMk cId="4114483723" sldId="682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72" v="51"/>
        <pc:sldMkLst>
          <pc:docMk/>
          <pc:sldMk cId="3010415139" sldId="683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72" v="52"/>
        <pc:sldMkLst>
          <pc:docMk/>
          <pc:sldMk cId="1765254123" sldId="684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72" v="53"/>
        <pc:sldMkLst>
          <pc:docMk/>
          <pc:sldMk cId="1361138141" sldId="685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72" v="40"/>
        <pc:sldMkLst>
          <pc:docMk/>
          <pc:sldMk cId="1099908272" sldId="686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72" v="54"/>
        <pc:sldMkLst>
          <pc:docMk/>
          <pc:sldMk cId="2682737613" sldId="687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72" v="55"/>
        <pc:sldMkLst>
          <pc:docMk/>
          <pc:sldMk cId="2943637064" sldId="688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72" v="56"/>
        <pc:sldMkLst>
          <pc:docMk/>
          <pc:sldMk cId="4179798793" sldId="689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72" v="57"/>
        <pc:sldMkLst>
          <pc:docMk/>
          <pc:sldMk cId="3467191386" sldId="690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72" v="58"/>
        <pc:sldMkLst>
          <pc:docMk/>
          <pc:sldMk cId="3176227063" sldId="691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72" v="59"/>
        <pc:sldMkLst>
          <pc:docMk/>
          <pc:sldMk cId="2332237802" sldId="692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72" v="60"/>
        <pc:sldMkLst>
          <pc:docMk/>
          <pc:sldMk cId="452218326" sldId="693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72" v="61"/>
        <pc:sldMkLst>
          <pc:docMk/>
          <pc:sldMk cId="1161338400" sldId="694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72" v="62"/>
        <pc:sldMkLst>
          <pc:docMk/>
          <pc:sldMk cId="3643256137" sldId="695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72" v="63"/>
        <pc:sldMkLst>
          <pc:docMk/>
          <pc:sldMk cId="3372974903" sldId="696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72" v="41"/>
        <pc:sldMkLst>
          <pc:docMk/>
          <pc:sldMk cId="374091465" sldId="697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72" v="42"/>
        <pc:sldMkLst>
          <pc:docMk/>
          <pc:sldMk cId="4258120031" sldId="698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72" v="43"/>
        <pc:sldMkLst>
          <pc:docMk/>
          <pc:sldMk cId="2743116939" sldId="699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72" v="44"/>
        <pc:sldMkLst>
          <pc:docMk/>
          <pc:sldMk cId="1230148335" sldId="700"/>
        </pc:sldMkLst>
      </pc:sldChg>
      <pc:sldChg chg="ord modTransition">
        <pc:chgData name="Thomas Stensitzki" userId="S::thomas.stensitzki@granikos.eu::75cafe6b-2f2a-469b-85c4-eec3b9c972ba" providerId="AD" clId="Web-{B54B06DF-100B-44E6-958F-2F982B87E4AB}" dt="2023-05-23T09:03:35.895" v="117"/>
        <pc:sldMkLst>
          <pc:docMk/>
          <pc:sldMk cId="3896402637" sldId="701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72" v="64"/>
        <pc:sldMkLst>
          <pc:docMk/>
          <pc:sldMk cId="575615367" sldId="702"/>
        </pc:sldMkLst>
      </pc:sldChg>
      <pc:sldChg chg="ord modTransition">
        <pc:chgData name="Thomas Stensitzki" userId="S::thomas.stensitzki@granikos.eu::75cafe6b-2f2a-469b-85c4-eec3b9c972ba" providerId="AD" clId="Web-{B54B06DF-100B-44E6-958F-2F982B87E4AB}" dt="2023-05-23T09:03:00.503" v="115"/>
        <pc:sldMkLst>
          <pc:docMk/>
          <pc:sldMk cId="4015570697" sldId="703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72" v="45"/>
        <pc:sldMkLst>
          <pc:docMk/>
          <pc:sldMk cId="1573460963" sldId="704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72" v="46"/>
        <pc:sldMkLst>
          <pc:docMk/>
          <pc:sldMk cId="2507653948" sldId="705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72" v="65"/>
        <pc:sldMkLst>
          <pc:docMk/>
          <pc:sldMk cId="2812659098" sldId="706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72" v="66"/>
        <pc:sldMkLst>
          <pc:docMk/>
          <pc:sldMk cId="1687698883" sldId="707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72" v="67"/>
        <pc:sldMkLst>
          <pc:docMk/>
          <pc:sldMk cId="228026287" sldId="708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72" v="68"/>
        <pc:sldMkLst>
          <pc:docMk/>
          <pc:sldMk cId="110691181" sldId="709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72" v="69"/>
        <pc:sldMkLst>
          <pc:docMk/>
          <pc:sldMk cId="548134817" sldId="710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88" v="70"/>
        <pc:sldMkLst>
          <pc:docMk/>
          <pc:sldMk cId="3364405255" sldId="711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88" v="90"/>
        <pc:sldMkLst>
          <pc:docMk/>
          <pc:sldMk cId="3869137616" sldId="712"/>
        </pc:sldMkLst>
      </pc:sldChg>
      <pc:sldChg chg="modTransition">
        <pc:chgData name="Thomas Stensitzki" userId="S::thomas.stensitzki@granikos.eu::75cafe6b-2f2a-469b-85c4-eec3b9c972ba" providerId="AD" clId="Web-{B54B06DF-100B-44E6-958F-2F982B87E4AB}" dt="2023-05-23T08:52:10.388" v="85"/>
        <pc:sldMkLst>
          <pc:docMk/>
          <pc:sldMk cId="1812240311" sldId="713"/>
        </pc:sldMkLst>
      </pc:sldChg>
      <pc:sldChg chg="modSp add ord replId modTransition">
        <pc:chgData name="Thomas Stensitzki" userId="S::thomas.stensitzki@granikos.eu::75cafe6b-2f2a-469b-85c4-eec3b9c972ba" providerId="AD" clId="Web-{B54B06DF-100B-44E6-958F-2F982B87E4AB}" dt="2023-05-23T08:52:10.388" v="91"/>
        <pc:sldMkLst>
          <pc:docMk/>
          <pc:sldMk cId="3493285919" sldId="714"/>
        </pc:sldMkLst>
        <pc:spChg chg="mod">
          <ac:chgData name="Thomas Stensitzki" userId="S::thomas.stensitzki@granikos.eu::75cafe6b-2f2a-469b-85c4-eec3b9c972ba" providerId="AD" clId="Web-{B54B06DF-100B-44E6-958F-2F982B87E4AB}" dt="2023-05-23T08:51:45.684" v="23" actId="1076"/>
          <ac:spMkLst>
            <pc:docMk/>
            <pc:sldMk cId="3493285919" sldId="714"/>
            <ac:spMk id="2" creationId="{909DC09D-B9A6-4493-9A72-1CA7ECB1F5CA}"/>
          </ac:spMkLst>
        </pc:spChg>
      </pc:sldChg>
      <pc:sldChg chg="modSp add ord replId">
        <pc:chgData name="Thomas Stensitzki" userId="S::thomas.stensitzki@granikos.eu::75cafe6b-2f2a-469b-85c4-eec3b9c972ba" providerId="AD" clId="Web-{B54B06DF-100B-44E6-958F-2F982B87E4AB}" dt="2023-05-23T08:52:36.904" v="96" actId="1076"/>
        <pc:sldMkLst>
          <pc:docMk/>
          <pc:sldMk cId="3096558029" sldId="715"/>
        </pc:sldMkLst>
        <pc:spChg chg="mod">
          <ac:chgData name="Thomas Stensitzki" userId="S::thomas.stensitzki@granikos.eu::75cafe6b-2f2a-469b-85c4-eec3b9c972ba" providerId="AD" clId="Web-{B54B06DF-100B-44E6-958F-2F982B87E4AB}" dt="2023-05-23T08:52:36.904" v="96" actId="1076"/>
          <ac:spMkLst>
            <pc:docMk/>
            <pc:sldMk cId="3096558029" sldId="715"/>
            <ac:spMk id="2" creationId="{909DC09D-B9A6-4493-9A72-1CA7ECB1F5CA}"/>
          </ac:spMkLst>
        </pc:spChg>
      </pc:sldChg>
      <pc:sldChg chg="modSp add ord replId">
        <pc:chgData name="Thomas Stensitzki" userId="S::thomas.stensitzki@granikos.eu::75cafe6b-2f2a-469b-85c4-eec3b9c972ba" providerId="AD" clId="Web-{B54B06DF-100B-44E6-958F-2F982B87E4AB}" dt="2023-05-23T08:53:08.296" v="99" actId="1076"/>
        <pc:sldMkLst>
          <pc:docMk/>
          <pc:sldMk cId="885506395" sldId="716"/>
        </pc:sldMkLst>
        <pc:spChg chg="mod">
          <ac:chgData name="Thomas Stensitzki" userId="S::thomas.stensitzki@granikos.eu::75cafe6b-2f2a-469b-85c4-eec3b9c972ba" providerId="AD" clId="Web-{B54B06DF-100B-44E6-958F-2F982B87E4AB}" dt="2023-05-23T08:53:08.296" v="99" actId="1076"/>
          <ac:spMkLst>
            <pc:docMk/>
            <pc:sldMk cId="885506395" sldId="716"/>
            <ac:spMk id="2" creationId="{909DC09D-B9A6-4493-9A72-1CA7ECB1F5CA}"/>
          </ac:spMkLst>
        </pc:spChg>
      </pc:sldChg>
      <pc:sldChg chg="modSp add ord replId">
        <pc:chgData name="Thomas Stensitzki" userId="S::thomas.stensitzki@granikos.eu::75cafe6b-2f2a-469b-85c4-eec3b9c972ba" providerId="AD" clId="Web-{B54B06DF-100B-44E6-958F-2F982B87E4AB}" dt="2023-05-23T08:56:15.427" v="102" actId="1076"/>
        <pc:sldMkLst>
          <pc:docMk/>
          <pc:sldMk cId="3811181025" sldId="717"/>
        </pc:sldMkLst>
        <pc:spChg chg="mod">
          <ac:chgData name="Thomas Stensitzki" userId="S::thomas.stensitzki@granikos.eu::75cafe6b-2f2a-469b-85c4-eec3b9c972ba" providerId="AD" clId="Web-{B54B06DF-100B-44E6-958F-2F982B87E4AB}" dt="2023-05-23T08:56:15.427" v="102" actId="1076"/>
          <ac:spMkLst>
            <pc:docMk/>
            <pc:sldMk cId="3811181025" sldId="717"/>
            <ac:spMk id="2" creationId="{909DC09D-B9A6-4493-9A72-1CA7ECB1F5CA}"/>
          </ac:spMkLst>
        </pc:spChg>
      </pc:sldChg>
      <pc:sldChg chg="modSp add ord replId">
        <pc:chgData name="Thomas Stensitzki" userId="S::thomas.stensitzki@granikos.eu::75cafe6b-2f2a-469b-85c4-eec3b9c972ba" providerId="AD" clId="Web-{B54B06DF-100B-44E6-958F-2F982B87E4AB}" dt="2023-05-23T08:56:26.552" v="105" actId="1076"/>
        <pc:sldMkLst>
          <pc:docMk/>
          <pc:sldMk cId="1675618000" sldId="718"/>
        </pc:sldMkLst>
        <pc:spChg chg="mod">
          <ac:chgData name="Thomas Stensitzki" userId="S::thomas.stensitzki@granikos.eu::75cafe6b-2f2a-469b-85c4-eec3b9c972ba" providerId="AD" clId="Web-{B54B06DF-100B-44E6-958F-2F982B87E4AB}" dt="2023-05-23T08:56:26.552" v="105" actId="1076"/>
          <ac:spMkLst>
            <pc:docMk/>
            <pc:sldMk cId="1675618000" sldId="718"/>
            <ac:spMk id="2" creationId="{909DC09D-B9A6-4493-9A72-1CA7ECB1F5CA}"/>
          </ac:spMkLst>
        </pc:spChg>
      </pc:sldChg>
      <pc:sldChg chg="modSp add ord replId">
        <pc:chgData name="Thomas Stensitzki" userId="S::thomas.stensitzki@granikos.eu::75cafe6b-2f2a-469b-85c4-eec3b9c972ba" providerId="AD" clId="Web-{B54B06DF-100B-44E6-958F-2F982B87E4AB}" dt="2023-05-23T08:57:01.554" v="108" actId="1076"/>
        <pc:sldMkLst>
          <pc:docMk/>
          <pc:sldMk cId="3699936980" sldId="719"/>
        </pc:sldMkLst>
        <pc:spChg chg="mod">
          <ac:chgData name="Thomas Stensitzki" userId="S::thomas.stensitzki@granikos.eu::75cafe6b-2f2a-469b-85c4-eec3b9c972ba" providerId="AD" clId="Web-{B54B06DF-100B-44E6-958F-2F982B87E4AB}" dt="2023-05-23T08:57:01.554" v="108" actId="1076"/>
          <ac:spMkLst>
            <pc:docMk/>
            <pc:sldMk cId="3699936980" sldId="719"/>
            <ac:spMk id="2" creationId="{909DC09D-B9A6-4493-9A72-1CA7ECB1F5CA}"/>
          </ac:spMkLst>
        </pc:spChg>
      </pc:sldChg>
      <pc:sldChg chg="modSp add ord replId">
        <pc:chgData name="Thomas Stensitzki" userId="S::thomas.stensitzki@granikos.eu::75cafe6b-2f2a-469b-85c4-eec3b9c972ba" providerId="AD" clId="Web-{B54B06DF-100B-44E6-958F-2F982B87E4AB}" dt="2023-05-23T09:02:36.752" v="111" actId="1076"/>
        <pc:sldMkLst>
          <pc:docMk/>
          <pc:sldMk cId="1816139218" sldId="720"/>
        </pc:sldMkLst>
        <pc:spChg chg="mod">
          <ac:chgData name="Thomas Stensitzki" userId="S::thomas.stensitzki@granikos.eu::75cafe6b-2f2a-469b-85c4-eec3b9c972ba" providerId="AD" clId="Web-{B54B06DF-100B-44E6-958F-2F982B87E4AB}" dt="2023-05-23T09:02:36.752" v="111" actId="1076"/>
          <ac:spMkLst>
            <pc:docMk/>
            <pc:sldMk cId="1816139218" sldId="720"/>
            <ac:spMk id="2" creationId="{909DC09D-B9A6-4493-9A72-1CA7ECB1F5CA}"/>
          </ac:spMkLst>
        </pc:spChg>
      </pc:sldChg>
      <pc:sldChg chg="modSp add ord replId">
        <pc:chgData name="Thomas Stensitzki" userId="S::thomas.stensitzki@granikos.eu::75cafe6b-2f2a-469b-85c4-eec3b9c972ba" providerId="AD" clId="Web-{B54B06DF-100B-44E6-958F-2F982B87E4AB}" dt="2023-05-23T09:02:55.815" v="114" actId="1076"/>
        <pc:sldMkLst>
          <pc:docMk/>
          <pc:sldMk cId="2951801347" sldId="721"/>
        </pc:sldMkLst>
        <pc:spChg chg="mod">
          <ac:chgData name="Thomas Stensitzki" userId="S::thomas.stensitzki@granikos.eu::75cafe6b-2f2a-469b-85c4-eec3b9c972ba" providerId="AD" clId="Web-{B54B06DF-100B-44E6-958F-2F982B87E4AB}" dt="2023-05-23T09:02:55.815" v="114" actId="1076"/>
          <ac:spMkLst>
            <pc:docMk/>
            <pc:sldMk cId="2951801347" sldId="721"/>
            <ac:spMk id="2" creationId="{909DC09D-B9A6-4493-9A72-1CA7ECB1F5CA}"/>
          </ac:spMkLst>
        </pc:spChg>
      </pc:sldChg>
      <pc:sldChg chg="modSp add ord replId">
        <pc:chgData name="Thomas Stensitzki" userId="S::thomas.stensitzki@granikos.eu::75cafe6b-2f2a-469b-85c4-eec3b9c972ba" providerId="AD" clId="Web-{B54B06DF-100B-44E6-958F-2F982B87E4AB}" dt="2023-05-23T09:03:52.020" v="121" actId="14100"/>
        <pc:sldMkLst>
          <pc:docMk/>
          <pc:sldMk cId="286203048" sldId="722"/>
        </pc:sldMkLst>
        <pc:spChg chg="mod">
          <ac:chgData name="Thomas Stensitzki" userId="S::thomas.stensitzki@granikos.eu::75cafe6b-2f2a-469b-85c4-eec3b9c972ba" providerId="AD" clId="Web-{B54B06DF-100B-44E6-958F-2F982B87E4AB}" dt="2023-05-23T09:03:52.020" v="121" actId="14100"/>
          <ac:spMkLst>
            <pc:docMk/>
            <pc:sldMk cId="286203048" sldId="722"/>
            <ac:spMk id="2" creationId="{909DC09D-B9A6-4493-9A72-1CA7ECB1F5CA}"/>
          </ac:spMkLst>
        </pc:spChg>
      </pc:sldChg>
      <pc:sldChg chg="modSp add ord replId">
        <pc:chgData name="Thomas Stensitzki" userId="S::thomas.stensitzki@granikos.eu::75cafe6b-2f2a-469b-85c4-eec3b9c972ba" providerId="AD" clId="Web-{B54B06DF-100B-44E6-958F-2F982B87E4AB}" dt="2023-05-23T09:04:08.005" v="124" actId="1076"/>
        <pc:sldMkLst>
          <pc:docMk/>
          <pc:sldMk cId="3113072159" sldId="723"/>
        </pc:sldMkLst>
        <pc:spChg chg="mod">
          <ac:chgData name="Thomas Stensitzki" userId="S::thomas.stensitzki@granikos.eu::75cafe6b-2f2a-469b-85c4-eec3b9c972ba" providerId="AD" clId="Web-{B54B06DF-100B-44E6-958F-2F982B87E4AB}" dt="2023-05-23T09:04:08.005" v="124" actId="1076"/>
          <ac:spMkLst>
            <pc:docMk/>
            <pc:sldMk cId="3113072159" sldId="723"/>
            <ac:spMk id="2" creationId="{909DC09D-B9A6-4493-9A72-1CA7ECB1F5CA}"/>
          </ac:spMkLst>
        </pc:spChg>
      </pc:sldChg>
      <pc:sldChg chg="modSp add ord replId">
        <pc:chgData name="Thomas Stensitzki" userId="S::thomas.stensitzki@granikos.eu::75cafe6b-2f2a-469b-85c4-eec3b9c972ba" providerId="AD" clId="Web-{B54B06DF-100B-44E6-958F-2F982B87E4AB}" dt="2023-05-23T09:04:23.068" v="127" actId="1076"/>
        <pc:sldMkLst>
          <pc:docMk/>
          <pc:sldMk cId="3469518411" sldId="724"/>
        </pc:sldMkLst>
        <pc:spChg chg="mod">
          <ac:chgData name="Thomas Stensitzki" userId="S::thomas.stensitzki@granikos.eu::75cafe6b-2f2a-469b-85c4-eec3b9c972ba" providerId="AD" clId="Web-{B54B06DF-100B-44E6-958F-2F982B87E4AB}" dt="2023-05-23T09:04:23.068" v="127" actId="1076"/>
          <ac:spMkLst>
            <pc:docMk/>
            <pc:sldMk cId="3469518411" sldId="724"/>
            <ac:spMk id="2" creationId="{909DC09D-B9A6-4493-9A72-1CA7ECB1F5CA}"/>
          </ac:spMkLst>
        </pc:spChg>
      </pc:sldChg>
      <pc:sldChg chg="add ord replId">
        <pc:chgData name="Thomas Stensitzki" userId="S::thomas.stensitzki@granikos.eu::75cafe6b-2f2a-469b-85c4-eec3b9c972ba" providerId="AD" clId="Web-{B54B06DF-100B-44E6-958F-2F982B87E4AB}" dt="2023-05-23T09:05:01.429" v="129"/>
        <pc:sldMkLst>
          <pc:docMk/>
          <pc:sldMk cId="1002613873" sldId="725"/>
        </pc:sldMkLst>
      </pc:sldChg>
      <pc:sldChg chg="add ord replId">
        <pc:chgData name="Thomas Stensitzki" userId="S::thomas.stensitzki@granikos.eu::75cafe6b-2f2a-469b-85c4-eec3b9c972ba" providerId="AD" clId="Web-{B54B06DF-100B-44E6-958F-2F982B87E4AB}" dt="2023-05-23T09:05:24.477" v="131"/>
        <pc:sldMkLst>
          <pc:docMk/>
          <pc:sldMk cId="1629876044" sldId="726"/>
        </pc:sldMkLst>
      </pc:sldChg>
    </pc:docChg>
  </pc:docChgLst>
  <pc:docChgLst>
    <pc:chgData name="Thomas Stensitzki" userId="75cafe6b-2f2a-469b-85c4-eec3b9c972ba" providerId="ADAL" clId="{B1462F1E-0CE4-4310-BDB3-DCDEDFDFEA3A}"/>
    <pc:docChg chg="undo custSel addSld delSld modSld sldOrd modSection replTag">
      <pc:chgData name="Thomas Stensitzki" userId="75cafe6b-2f2a-469b-85c4-eec3b9c972ba" providerId="ADAL" clId="{B1462F1E-0CE4-4310-BDB3-DCDEDFDFEA3A}" dt="2023-10-31T11:27:18.103" v="3101" actId="14100"/>
      <pc:docMkLst>
        <pc:docMk/>
      </pc:docMkLst>
      <pc:sldChg chg="modSp mod">
        <pc:chgData name="Thomas Stensitzki" userId="75cafe6b-2f2a-469b-85c4-eec3b9c972ba" providerId="ADAL" clId="{B1462F1E-0CE4-4310-BDB3-DCDEDFDFEA3A}" dt="2023-08-14T14:43:50.882" v="37" actId="20577"/>
        <pc:sldMkLst>
          <pc:docMk/>
          <pc:sldMk cId="671489701" sldId="256"/>
        </pc:sldMkLst>
        <pc:spChg chg="mod">
          <ac:chgData name="Thomas Stensitzki" userId="75cafe6b-2f2a-469b-85c4-eec3b9c972ba" providerId="ADAL" clId="{B1462F1E-0CE4-4310-BDB3-DCDEDFDFEA3A}" dt="2023-08-14T14:43:50.882" v="37" actId="20577"/>
          <ac:spMkLst>
            <pc:docMk/>
            <pc:sldMk cId="671489701" sldId="256"/>
            <ac:spMk id="3" creationId="{CBA95633-B02D-4A15-A8B1-A38E0A70FD27}"/>
          </ac:spMkLst>
        </pc:spChg>
      </pc:sldChg>
      <pc:sldChg chg="addSp modSp mod">
        <pc:chgData name="Thomas Stensitzki" userId="75cafe6b-2f2a-469b-85c4-eec3b9c972ba" providerId="ADAL" clId="{B1462F1E-0CE4-4310-BDB3-DCDEDFDFEA3A}" dt="2023-10-22T09:53:19.410" v="1631" actId="1076"/>
        <pc:sldMkLst>
          <pc:docMk/>
          <pc:sldMk cId="2855324227" sldId="257"/>
        </pc:sldMkLst>
        <pc:spChg chg="mod">
          <ac:chgData name="Thomas Stensitzki" userId="75cafe6b-2f2a-469b-85c4-eec3b9c972ba" providerId="ADAL" clId="{B1462F1E-0CE4-4310-BDB3-DCDEDFDFEA3A}" dt="2023-10-21T14:39:13.988" v="366" actId="6549"/>
          <ac:spMkLst>
            <pc:docMk/>
            <pc:sldMk cId="2855324227" sldId="257"/>
            <ac:spMk id="5" creationId="{EE6719E1-4DB6-4D58-BA77-937CF975247C}"/>
          </ac:spMkLst>
        </pc:spChg>
        <pc:graphicFrameChg chg="mod modGraphic">
          <ac:chgData name="Thomas Stensitzki" userId="75cafe6b-2f2a-469b-85c4-eec3b9c972ba" providerId="ADAL" clId="{B1462F1E-0CE4-4310-BDB3-DCDEDFDFEA3A}" dt="2023-10-22T09:07:47.499" v="436" actId="790"/>
          <ac:graphicFrameMkLst>
            <pc:docMk/>
            <pc:sldMk cId="2855324227" sldId="257"/>
            <ac:graphicFrameMk id="6" creationId="{0F955DCC-462D-431D-BBDE-26F10687D590}"/>
          </ac:graphicFrameMkLst>
        </pc:graphicFrameChg>
        <pc:picChg chg="add mod">
          <ac:chgData name="Thomas Stensitzki" userId="75cafe6b-2f2a-469b-85c4-eec3b9c972ba" providerId="ADAL" clId="{B1462F1E-0CE4-4310-BDB3-DCDEDFDFEA3A}" dt="2023-10-22T09:53:19.410" v="1631" actId="1076"/>
          <ac:picMkLst>
            <pc:docMk/>
            <pc:sldMk cId="2855324227" sldId="257"/>
            <ac:picMk id="3" creationId="{7E9BCC18-41F2-6905-F148-849B8FE8CF63}"/>
          </ac:picMkLst>
        </pc:picChg>
      </pc:sldChg>
      <pc:sldChg chg="modSp mod">
        <pc:chgData name="Thomas Stensitzki" userId="75cafe6b-2f2a-469b-85c4-eec3b9c972ba" providerId="ADAL" clId="{B1462F1E-0CE4-4310-BDB3-DCDEDFDFEA3A}" dt="2023-10-21T14:46:55.753" v="426" actId="6549"/>
        <pc:sldMkLst>
          <pc:docMk/>
          <pc:sldMk cId="3332792154" sldId="258"/>
        </pc:sldMkLst>
        <pc:spChg chg="mod">
          <ac:chgData name="Thomas Stensitzki" userId="75cafe6b-2f2a-469b-85c4-eec3b9c972ba" providerId="ADAL" clId="{B1462F1E-0CE4-4310-BDB3-DCDEDFDFEA3A}" dt="2023-10-21T14:46:55.753" v="426" actId="6549"/>
          <ac:spMkLst>
            <pc:docMk/>
            <pc:sldMk cId="3332792154" sldId="258"/>
            <ac:spMk id="3" creationId="{3A5A44EB-7FB9-473A-8ED3-C49DDD2E65AB}"/>
          </ac:spMkLst>
        </pc:spChg>
      </pc:sldChg>
      <pc:sldChg chg="add ord">
        <pc:chgData name="Thomas Stensitzki" userId="75cafe6b-2f2a-469b-85c4-eec3b9c972ba" providerId="ADAL" clId="{B1462F1E-0CE4-4310-BDB3-DCDEDFDFEA3A}" dt="2023-10-21T14:36:39.998" v="336"/>
        <pc:sldMkLst>
          <pc:docMk/>
          <pc:sldMk cId="1545829058" sldId="259"/>
        </pc:sldMkLst>
      </pc:sldChg>
      <pc:sldChg chg="modSp mod">
        <pc:chgData name="Thomas Stensitzki" userId="75cafe6b-2f2a-469b-85c4-eec3b9c972ba" providerId="ADAL" clId="{B1462F1E-0CE4-4310-BDB3-DCDEDFDFEA3A}" dt="2023-10-22T09:55:46.807" v="1633" actId="790"/>
        <pc:sldMkLst>
          <pc:docMk/>
          <pc:sldMk cId="2698998357" sldId="260"/>
        </pc:sldMkLst>
        <pc:spChg chg="mod">
          <ac:chgData name="Thomas Stensitzki" userId="75cafe6b-2f2a-469b-85c4-eec3b9c972ba" providerId="ADAL" clId="{B1462F1E-0CE4-4310-BDB3-DCDEDFDFEA3A}" dt="2023-10-22T09:55:46.807" v="1633" actId="790"/>
          <ac:spMkLst>
            <pc:docMk/>
            <pc:sldMk cId="2698998357" sldId="260"/>
            <ac:spMk id="4" creationId="{F3A15CBD-C746-44A3-A4F0-4898CE2F02E6}"/>
          </ac:spMkLst>
        </pc:spChg>
        <pc:spChg chg="mod">
          <ac:chgData name="Thomas Stensitzki" userId="75cafe6b-2f2a-469b-85c4-eec3b9c972ba" providerId="ADAL" clId="{B1462F1E-0CE4-4310-BDB3-DCDEDFDFEA3A}" dt="2023-10-21T14:40:34.676" v="397" actId="20577"/>
          <ac:spMkLst>
            <pc:docMk/>
            <pc:sldMk cId="2698998357" sldId="260"/>
            <ac:spMk id="5" creationId="{F3459BE7-1731-4733-A912-12977C68CFD6}"/>
          </ac:spMkLst>
        </pc:spChg>
      </pc:sldChg>
      <pc:sldChg chg="modSp mod">
        <pc:chgData name="Thomas Stensitzki" userId="75cafe6b-2f2a-469b-85c4-eec3b9c972ba" providerId="ADAL" clId="{B1462F1E-0CE4-4310-BDB3-DCDEDFDFEA3A}" dt="2023-10-22T09:09:02.104" v="438" actId="6549"/>
        <pc:sldMkLst>
          <pc:docMk/>
          <pc:sldMk cId="4007670073" sldId="268"/>
        </pc:sldMkLst>
        <pc:spChg chg="mod">
          <ac:chgData name="Thomas Stensitzki" userId="75cafe6b-2f2a-469b-85c4-eec3b9c972ba" providerId="ADAL" clId="{B1462F1E-0CE4-4310-BDB3-DCDEDFDFEA3A}" dt="2023-10-22T09:09:02.104" v="438" actId="6549"/>
          <ac:spMkLst>
            <pc:docMk/>
            <pc:sldMk cId="4007670073" sldId="268"/>
            <ac:spMk id="5" creationId="{F3459BE7-1731-4733-A912-12977C68CFD6}"/>
          </ac:spMkLst>
        </pc:spChg>
      </pc:sldChg>
      <pc:sldChg chg="modSp mod">
        <pc:chgData name="Thomas Stensitzki" userId="75cafe6b-2f2a-469b-85c4-eec3b9c972ba" providerId="ADAL" clId="{B1462F1E-0CE4-4310-BDB3-DCDEDFDFEA3A}" dt="2023-10-21T14:46:08.014" v="409" actId="6549"/>
        <pc:sldMkLst>
          <pc:docMk/>
          <pc:sldMk cId="2721051844" sldId="269"/>
        </pc:sldMkLst>
        <pc:spChg chg="mod">
          <ac:chgData name="Thomas Stensitzki" userId="75cafe6b-2f2a-469b-85c4-eec3b9c972ba" providerId="ADAL" clId="{B1462F1E-0CE4-4310-BDB3-DCDEDFDFEA3A}" dt="2023-10-21T14:46:08.014" v="409" actId="6549"/>
          <ac:spMkLst>
            <pc:docMk/>
            <pc:sldMk cId="2721051844" sldId="269"/>
            <ac:spMk id="5" creationId="{C24DACB5-1BEC-4C86-9652-BAFD8DE56FEF}"/>
          </ac:spMkLst>
        </pc:spChg>
      </pc:sldChg>
      <pc:sldChg chg="modSp mod">
        <pc:chgData name="Thomas Stensitzki" userId="75cafe6b-2f2a-469b-85c4-eec3b9c972ba" providerId="ADAL" clId="{B1462F1E-0CE4-4310-BDB3-DCDEDFDFEA3A}" dt="2023-10-22T10:04:41.354" v="2023"/>
        <pc:sldMkLst>
          <pc:docMk/>
          <pc:sldMk cId="2227487991" sldId="378"/>
        </pc:sldMkLst>
        <pc:spChg chg="mod">
          <ac:chgData name="Thomas Stensitzki" userId="75cafe6b-2f2a-469b-85c4-eec3b9c972ba" providerId="ADAL" clId="{B1462F1E-0CE4-4310-BDB3-DCDEDFDFEA3A}" dt="2023-10-22T09:24:54.961" v="745" actId="14100"/>
          <ac:spMkLst>
            <pc:docMk/>
            <pc:sldMk cId="2227487991" sldId="378"/>
            <ac:spMk id="2" creationId="{909DC09D-B9A6-4493-9A72-1CA7ECB1F5CA}"/>
          </ac:spMkLst>
        </pc:spChg>
        <pc:spChg chg="mod">
          <ac:chgData name="Thomas Stensitzki" userId="75cafe6b-2f2a-469b-85c4-eec3b9c972ba" providerId="ADAL" clId="{B1462F1E-0CE4-4310-BDB3-DCDEDFDFEA3A}" dt="2023-10-22T10:04:41.354" v="2023"/>
          <ac:spMkLst>
            <pc:docMk/>
            <pc:sldMk cId="2227487991" sldId="378"/>
            <ac:spMk id="5" creationId="{C24DACB5-1BEC-4C86-9652-BAFD8DE56FEF}"/>
          </ac:spMkLst>
        </pc:spChg>
      </pc:sldChg>
      <pc:sldChg chg="modSp mod">
        <pc:chgData name="Thomas Stensitzki" userId="75cafe6b-2f2a-469b-85c4-eec3b9c972ba" providerId="ADAL" clId="{B1462F1E-0CE4-4310-BDB3-DCDEDFDFEA3A}" dt="2023-10-26T09:27:33.858" v="2515" actId="14100"/>
        <pc:sldMkLst>
          <pc:docMk/>
          <pc:sldMk cId="3797754622" sldId="515"/>
        </pc:sldMkLst>
        <pc:spChg chg="mod">
          <ac:chgData name="Thomas Stensitzki" userId="75cafe6b-2f2a-469b-85c4-eec3b9c972ba" providerId="ADAL" clId="{B1462F1E-0CE4-4310-BDB3-DCDEDFDFEA3A}" dt="2023-10-26T09:27:33.858" v="2515" actId="14100"/>
          <ac:spMkLst>
            <pc:docMk/>
            <pc:sldMk cId="3797754622" sldId="515"/>
            <ac:spMk id="2" creationId="{909DC09D-B9A6-4493-9A72-1CA7ECB1F5CA}"/>
          </ac:spMkLst>
        </pc:spChg>
        <pc:spChg chg="mod">
          <ac:chgData name="Thomas Stensitzki" userId="75cafe6b-2f2a-469b-85c4-eec3b9c972ba" providerId="ADAL" clId="{B1462F1E-0CE4-4310-BDB3-DCDEDFDFEA3A}" dt="2023-10-22T09:38:34.294" v="1033"/>
          <ac:spMkLst>
            <pc:docMk/>
            <pc:sldMk cId="3797754622" sldId="515"/>
            <ac:spMk id="5" creationId="{C24DACB5-1BEC-4C86-9652-BAFD8DE56FEF}"/>
          </ac:spMkLst>
        </pc:spChg>
      </pc:sldChg>
      <pc:sldChg chg="del">
        <pc:chgData name="Thomas Stensitzki" userId="75cafe6b-2f2a-469b-85c4-eec3b9c972ba" providerId="ADAL" clId="{B1462F1E-0CE4-4310-BDB3-DCDEDFDFEA3A}" dt="2023-08-14T14:44:30.908" v="71" actId="47"/>
        <pc:sldMkLst>
          <pc:docMk/>
          <pc:sldMk cId="1051205786" sldId="607"/>
        </pc:sldMkLst>
      </pc:sldChg>
      <pc:sldChg chg="modSp mod">
        <pc:chgData name="Thomas Stensitzki" userId="75cafe6b-2f2a-469b-85c4-eec3b9c972ba" providerId="ADAL" clId="{B1462F1E-0CE4-4310-BDB3-DCDEDFDFEA3A}" dt="2023-10-21T14:40:50.779" v="402" actId="6549"/>
        <pc:sldMkLst>
          <pc:docMk/>
          <pc:sldMk cId="1962477249" sldId="659"/>
        </pc:sldMkLst>
        <pc:spChg chg="mod">
          <ac:chgData name="Thomas Stensitzki" userId="75cafe6b-2f2a-469b-85c4-eec3b9c972ba" providerId="ADAL" clId="{B1462F1E-0CE4-4310-BDB3-DCDEDFDFEA3A}" dt="2023-10-21T14:40:50.779" v="402" actId="6549"/>
          <ac:spMkLst>
            <pc:docMk/>
            <pc:sldMk cId="1962477249" sldId="659"/>
            <ac:spMk id="5" creationId="{F3459BE7-1731-4733-A912-12977C68CFD6}"/>
          </ac:spMkLst>
        </pc:spChg>
      </pc:sldChg>
      <pc:sldChg chg="modSp mod">
        <pc:chgData name="Thomas Stensitzki" userId="75cafe6b-2f2a-469b-85c4-eec3b9c972ba" providerId="ADAL" clId="{B1462F1E-0CE4-4310-BDB3-DCDEDFDFEA3A}" dt="2023-08-14T14:44:52.707" v="75" actId="20577"/>
        <pc:sldMkLst>
          <pc:docMk/>
          <pc:sldMk cId="4212332529" sldId="661"/>
        </pc:sldMkLst>
        <pc:spChg chg="mod">
          <ac:chgData name="Thomas Stensitzki" userId="75cafe6b-2f2a-469b-85c4-eec3b9c972ba" providerId="ADAL" clId="{B1462F1E-0CE4-4310-BDB3-DCDEDFDFEA3A}" dt="2023-08-14T14:44:52.707" v="75" actId="20577"/>
          <ac:spMkLst>
            <pc:docMk/>
            <pc:sldMk cId="4212332529" sldId="661"/>
            <ac:spMk id="4" creationId="{F3A15CBD-C746-44A3-A4F0-4898CE2F02E6}"/>
          </ac:spMkLst>
        </pc:spChg>
      </pc:sldChg>
      <pc:sldChg chg="del">
        <pc:chgData name="Thomas Stensitzki" userId="75cafe6b-2f2a-469b-85c4-eec3b9c972ba" providerId="ADAL" clId="{B1462F1E-0CE4-4310-BDB3-DCDEDFDFEA3A}" dt="2023-08-14T14:44:46.963" v="73" actId="47"/>
        <pc:sldMkLst>
          <pc:docMk/>
          <pc:sldMk cId="1002613873" sldId="725"/>
        </pc:sldMkLst>
      </pc:sldChg>
      <pc:sldChg chg="addSp modSp mod">
        <pc:chgData name="Thomas Stensitzki" userId="75cafe6b-2f2a-469b-85c4-eec3b9c972ba" providerId="ADAL" clId="{B1462F1E-0CE4-4310-BDB3-DCDEDFDFEA3A}" dt="2023-10-21T14:38:56.658" v="365" actId="1076"/>
        <pc:sldMkLst>
          <pc:docMk/>
          <pc:sldMk cId="980172925" sldId="741"/>
        </pc:sldMkLst>
        <pc:spChg chg="add mod">
          <ac:chgData name="Thomas Stensitzki" userId="75cafe6b-2f2a-469b-85c4-eec3b9c972ba" providerId="ADAL" clId="{B1462F1E-0CE4-4310-BDB3-DCDEDFDFEA3A}" dt="2023-10-21T14:38:28.476" v="360" actId="20577"/>
          <ac:spMkLst>
            <pc:docMk/>
            <pc:sldMk cId="980172925" sldId="741"/>
            <ac:spMk id="2" creationId="{EC6809E7-B0BE-CA65-ACDC-5D372BBD27CD}"/>
          </ac:spMkLst>
        </pc:spChg>
        <pc:picChg chg="mod">
          <ac:chgData name="Thomas Stensitzki" userId="75cafe6b-2f2a-469b-85c4-eec3b9c972ba" providerId="ADAL" clId="{B1462F1E-0CE4-4310-BDB3-DCDEDFDFEA3A}" dt="2023-10-21T14:38:56.658" v="365" actId="1076"/>
          <ac:picMkLst>
            <pc:docMk/>
            <pc:sldMk cId="980172925" sldId="741"/>
            <ac:picMk id="1026" creationId="{A56E732E-05A6-05FC-08CC-655BB585349B}"/>
          </ac:picMkLst>
        </pc:picChg>
      </pc:sldChg>
      <pc:sldChg chg="addSp delSp modSp new mod ord">
        <pc:chgData name="Thomas Stensitzki" userId="75cafe6b-2f2a-469b-85c4-eec3b9c972ba" providerId="ADAL" clId="{B1462F1E-0CE4-4310-BDB3-DCDEDFDFEA3A}" dt="2023-10-26T09:28:08.453" v="2530"/>
        <pc:sldMkLst>
          <pc:docMk/>
          <pc:sldMk cId="1317116280" sldId="742"/>
        </pc:sldMkLst>
        <pc:spChg chg="mod">
          <ac:chgData name="Thomas Stensitzki" userId="75cafe6b-2f2a-469b-85c4-eec3b9c972ba" providerId="ADAL" clId="{B1462F1E-0CE4-4310-BDB3-DCDEDFDFEA3A}" dt="2023-10-22T09:12:42.301" v="444"/>
          <ac:spMkLst>
            <pc:docMk/>
            <pc:sldMk cId="1317116280" sldId="742"/>
            <ac:spMk id="2" creationId="{378DB6C1-23E6-ED5F-EE82-809596779B25}"/>
          </ac:spMkLst>
        </pc:spChg>
        <pc:spChg chg="del">
          <ac:chgData name="Thomas Stensitzki" userId="75cafe6b-2f2a-469b-85c4-eec3b9c972ba" providerId="ADAL" clId="{B1462F1E-0CE4-4310-BDB3-DCDEDFDFEA3A}" dt="2023-10-22T09:14:24.777" v="445" actId="478"/>
          <ac:spMkLst>
            <pc:docMk/>
            <pc:sldMk cId="1317116280" sldId="742"/>
            <ac:spMk id="3" creationId="{BC6AA501-4554-8DFD-A7C9-9DDA1E27921C}"/>
          </ac:spMkLst>
        </pc:spChg>
        <pc:spChg chg="add mod">
          <ac:chgData name="Thomas Stensitzki" userId="75cafe6b-2f2a-469b-85c4-eec3b9c972ba" providerId="ADAL" clId="{B1462F1E-0CE4-4310-BDB3-DCDEDFDFEA3A}" dt="2023-10-22T09:18:00.823" v="500" actId="20577"/>
          <ac:spMkLst>
            <pc:docMk/>
            <pc:sldMk cId="1317116280" sldId="742"/>
            <ac:spMk id="4" creationId="{8D785377-9608-B44E-3A78-4A4C1101B9B5}"/>
          </ac:spMkLst>
        </pc:spChg>
        <pc:spChg chg="add mod">
          <ac:chgData name="Thomas Stensitzki" userId="75cafe6b-2f2a-469b-85c4-eec3b9c972ba" providerId="ADAL" clId="{B1462F1E-0CE4-4310-BDB3-DCDEDFDFEA3A}" dt="2023-10-22T09:18:59.858" v="557" actId="20577"/>
          <ac:spMkLst>
            <pc:docMk/>
            <pc:sldMk cId="1317116280" sldId="742"/>
            <ac:spMk id="6" creationId="{5EE65999-F6D7-3033-7601-0BA8AF9CC78C}"/>
          </ac:spMkLst>
        </pc:spChg>
        <pc:picChg chg="add mod">
          <ac:chgData name="Thomas Stensitzki" userId="75cafe6b-2f2a-469b-85c4-eec3b9c972ba" providerId="ADAL" clId="{B1462F1E-0CE4-4310-BDB3-DCDEDFDFEA3A}" dt="2023-10-22T09:17:31.633" v="478" actId="1076"/>
          <ac:picMkLst>
            <pc:docMk/>
            <pc:sldMk cId="1317116280" sldId="742"/>
            <ac:picMk id="1026" creationId="{1E707FB8-1F61-439E-98E5-11D070D647A3}"/>
          </ac:picMkLst>
        </pc:picChg>
      </pc:sldChg>
      <pc:sldChg chg="del">
        <pc:chgData name="Thomas Stensitzki" userId="75cafe6b-2f2a-469b-85c4-eec3b9c972ba" providerId="ADAL" clId="{B1462F1E-0CE4-4310-BDB3-DCDEDFDFEA3A}" dt="2023-08-14T14:44:46.963" v="73" actId="47"/>
        <pc:sldMkLst>
          <pc:docMk/>
          <pc:sldMk cId="3557551175" sldId="742"/>
        </pc:sldMkLst>
      </pc:sldChg>
      <pc:sldChg chg="addSp modSp new add del mod">
        <pc:chgData name="Thomas Stensitzki" userId="75cafe6b-2f2a-469b-85c4-eec3b9c972ba" providerId="ADAL" clId="{B1462F1E-0CE4-4310-BDB3-DCDEDFDFEA3A}" dt="2023-10-22T09:26:54.438" v="760" actId="14734"/>
        <pc:sldMkLst>
          <pc:docMk/>
          <pc:sldMk cId="2889031269" sldId="743"/>
        </pc:sldMkLst>
        <pc:spChg chg="mod">
          <ac:chgData name="Thomas Stensitzki" userId="75cafe6b-2f2a-469b-85c4-eec3b9c972ba" providerId="ADAL" clId="{B1462F1E-0CE4-4310-BDB3-DCDEDFDFEA3A}" dt="2023-10-22T09:25:07.665" v="749"/>
          <ac:spMkLst>
            <pc:docMk/>
            <pc:sldMk cId="2889031269" sldId="743"/>
            <ac:spMk id="2" creationId="{AFA7D926-B298-6830-885B-70FEA34BC6A0}"/>
          </ac:spMkLst>
        </pc:spChg>
        <pc:spChg chg="mod">
          <ac:chgData name="Thomas Stensitzki" userId="75cafe6b-2f2a-469b-85c4-eec3b9c972ba" providerId="ADAL" clId="{B1462F1E-0CE4-4310-BDB3-DCDEDFDFEA3A}" dt="2023-10-22T09:25:23.249" v="753" actId="20577"/>
          <ac:spMkLst>
            <pc:docMk/>
            <pc:sldMk cId="2889031269" sldId="743"/>
            <ac:spMk id="3" creationId="{B0A1ED5E-E6A0-63A2-B868-1905B5100128}"/>
          </ac:spMkLst>
        </pc:spChg>
        <pc:graphicFrameChg chg="add mod modGraphic">
          <ac:chgData name="Thomas Stensitzki" userId="75cafe6b-2f2a-469b-85c4-eec3b9c972ba" providerId="ADAL" clId="{B1462F1E-0CE4-4310-BDB3-DCDEDFDFEA3A}" dt="2023-10-22T09:26:54.438" v="760" actId="14734"/>
          <ac:graphicFrameMkLst>
            <pc:docMk/>
            <pc:sldMk cId="2889031269" sldId="743"/>
            <ac:graphicFrameMk id="4" creationId="{922610F1-359B-96CE-BFA6-0181A99DA140}"/>
          </ac:graphicFrameMkLst>
        </pc:graphicFrameChg>
      </pc:sldChg>
      <pc:sldChg chg="del">
        <pc:chgData name="Thomas Stensitzki" userId="75cafe6b-2f2a-469b-85c4-eec3b9c972ba" providerId="ADAL" clId="{B1462F1E-0CE4-4310-BDB3-DCDEDFDFEA3A}" dt="2023-08-14T14:44:46.963" v="73" actId="47"/>
        <pc:sldMkLst>
          <pc:docMk/>
          <pc:sldMk cId="3417373465" sldId="743"/>
        </pc:sldMkLst>
      </pc:sldChg>
      <pc:sldChg chg="add">
        <pc:chgData name="Thomas Stensitzki" userId="75cafe6b-2f2a-469b-85c4-eec3b9c972ba" providerId="ADAL" clId="{B1462F1E-0CE4-4310-BDB3-DCDEDFDFEA3A}" dt="2023-10-22T09:25:03.898" v="748" actId="2890"/>
        <pc:sldMkLst>
          <pc:docMk/>
          <pc:sldMk cId="1784627537" sldId="744"/>
        </pc:sldMkLst>
      </pc:sldChg>
      <pc:sldChg chg="del">
        <pc:chgData name="Thomas Stensitzki" userId="75cafe6b-2f2a-469b-85c4-eec3b9c972ba" providerId="ADAL" clId="{B1462F1E-0CE4-4310-BDB3-DCDEDFDFEA3A}" dt="2023-08-14T14:44:39.723" v="72" actId="47"/>
        <pc:sldMkLst>
          <pc:docMk/>
          <pc:sldMk cId="2876131910" sldId="744"/>
        </pc:sldMkLst>
      </pc:sldChg>
      <pc:sldChg chg="del">
        <pc:chgData name="Thomas Stensitzki" userId="75cafe6b-2f2a-469b-85c4-eec3b9c972ba" providerId="ADAL" clId="{B1462F1E-0CE4-4310-BDB3-DCDEDFDFEA3A}" dt="2023-08-14T14:44:46.963" v="73" actId="47"/>
        <pc:sldMkLst>
          <pc:docMk/>
          <pc:sldMk cId="647126880" sldId="745"/>
        </pc:sldMkLst>
      </pc:sldChg>
      <pc:sldChg chg="modSp new mod">
        <pc:chgData name="Thomas Stensitzki" userId="75cafe6b-2f2a-469b-85c4-eec3b9c972ba" providerId="ADAL" clId="{B1462F1E-0CE4-4310-BDB3-DCDEDFDFEA3A}" dt="2023-10-22T09:28:32.548" v="797" actId="6549"/>
        <pc:sldMkLst>
          <pc:docMk/>
          <pc:sldMk cId="3716288060" sldId="745"/>
        </pc:sldMkLst>
        <pc:spChg chg="mod">
          <ac:chgData name="Thomas Stensitzki" userId="75cafe6b-2f2a-469b-85c4-eec3b9c972ba" providerId="ADAL" clId="{B1462F1E-0CE4-4310-BDB3-DCDEDFDFEA3A}" dt="2023-10-22T09:27:56.825" v="772"/>
          <ac:spMkLst>
            <pc:docMk/>
            <pc:sldMk cId="3716288060" sldId="745"/>
            <ac:spMk id="2" creationId="{4C6E92F7-E82B-5E0F-DD08-269B216023C6}"/>
          </ac:spMkLst>
        </pc:spChg>
        <pc:spChg chg="mod">
          <ac:chgData name="Thomas Stensitzki" userId="75cafe6b-2f2a-469b-85c4-eec3b9c972ba" providerId="ADAL" clId="{B1462F1E-0CE4-4310-BDB3-DCDEDFDFEA3A}" dt="2023-10-22T09:28:32.548" v="797" actId="6549"/>
          <ac:spMkLst>
            <pc:docMk/>
            <pc:sldMk cId="3716288060" sldId="745"/>
            <ac:spMk id="3" creationId="{E39E24DF-BE42-72DD-D13C-D25071A45F3E}"/>
          </ac:spMkLst>
        </pc:spChg>
      </pc:sldChg>
      <pc:sldChg chg="addSp delSp modSp new mod modNotesTx">
        <pc:chgData name="Thomas Stensitzki" userId="75cafe6b-2f2a-469b-85c4-eec3b9c972ba" providerId="ADAL" clId="{B1462F1E-0CE4-4310-BDB3-DCDEDFDFEA3A}" dt="2023-10-26T09:27:13.539" v="2513" actId="404"/>
        <pc:sldMkLst>
          <pc:docMk/>
          <pc:sldMk cId="3235938383" sldId="746"/>
        </pc:sldMkLst>
        <pc:spChg chg="mod">
          <ac:chgData name="Thomas Stensitzki" userId="75cafe6b-2f2a-469b-85c4-eec3b9c972ba" providerId="ADAL" clId="{B1462F1E-0CE4-4310-BDB3-DCDEDFDFEA3A}" dt="2023-10-26T09:27:13.539" v="2513" actId="404"/>
          <ac:spMkLst>
            <pc:docMk/>
            <pc:sldMk cId="3235938383" sldId="746"/>
            <ac:spMk id="2" creationId="{5B3E3C9C-491A-4B34-49D2-5725241CAB77}"/>
          </ac:spMkLst>
        </pc:spChg>
        <pc:spChg chg="del">
          <ac:chgData name="Thomas Stensitzki" userId="75cafe6b-2f2a-469b-85c4-eec3b9c972ba" providerId="ADAL" clId="{B1462F1E-0CE4-4310-BDB3-DCDEDFDFEA3A}" dt="2023-10-22T09:29:06.755" v="803" actId="478"/>
          <ac:spMkLst>
            <pc:docMk/>
            <pc:sldMk cId="3235938383" sldId="746"/>
            <ac:spMk id="3" creationId="{519183E1-F5AD-0EAD-AB8B-A16A577DC012}"/>
          </ac:spMkLst>
        </pc:spChg>
        <pc:picChg chg="add mod">
          <ac:chgData name="Thomas Stensitzki" userId="75cafe6b-2f2a-469b-85c4-eec3b9c972ba" providerId="ADAL" clId="{B1462F1E-0CE4-4310-BDB3-DCDEDFDFEA3A}" dt="2023-10-22T09:29:17.902" v="806" actId="1076"/>
          <ac:picMkLst>
            <pc:docMk/>
            <pc:sldMk cId="3235938383" sldId="746"/>
            <ac:picMk id="3074" creationId="{53106B50-8682-6EA9-4D5D-577426E07AAA}"/>
          </ac:picMkLst>
        </pc:picChg>
      </pc:sldChg>
      <pc:sldChg chg="del">
        <pc:chgData name="Thomas Stensitzki" userId="75cafe6b-2f2a-469b-85c4-eec3b9c972ba" providerId="ADAL" clId="{B1462F1E-0CE4-4310-BDB3-DCDEDFDFEA3A}" dt="2023-08-14T14:44:46.963" v="73" actId="47"/>
        <pc:sldMkLst>
          <pc:docMk/>
          <pc:sldMk cId="4269955596" sldId="746"/>
        </pc:sldMkLst>
      </pc:sldChg>
      <pc:sldChg chg="addSp modSp new mod">
        <pc:chgData name="Thomas Stensitzki" userId="75cafe6b-2f2a-469b-85c4-eec3b9c972ba" providerId="ADAL" clId="{B1462F1E-0CE4-4310-BDB3-DCDEDFDFEA3A}" dt="2023-10-22T09:32:21.738" v="827" actId="1076"/>
        <pc:sldMkLst>
          <pc:docMk/>
          <pc:sldMk cId="1889968485" sldId="747"/>
        </pc:sldMkLst>
        <pc:spChg chg="mod">
          <ac:chgData name="Thomas Stensitzki" userId="75cafe6b-2f2a-469b-85c4-eec3b9c972ba" providerId="ADAL" clId="{B1462F1E-0CE4-4310-BDB3-DCDEDFDFEA3A}" dt="2023-10-22T09:30:04.718" v="811"/>
          <ac:spMkLst>
            <pc:docMk/>
            <pc:sldMk cId="1889968485" sldId="747"/>
            <ac:spMk id="2" creationId="{7BA52265-3DB5-A681-F96F-27320A35EB54}"/>
          </ac:spMkLst>
        </pc:spChg>
        <pc:spChg chg="mod">
          <ac:chgData name="Thomas Stensitzki" userId="75cafe6b-2f2a-469b-85c4-eec3b9c972ba" providerId="ADAL" clId="{B1462F1E-0CE4-4310-BDB3-DCDEDFDFEA3A}" dt="2023-10-22T09:30:48.560" v="815" actId="20577"/>
          <ac:spMkLst>
            <pc:docMk/>
            <pc:sldMk cId="1889968485" sldId="747"/>
            <ac:spMk id="3" creationId="{8706F04D-9E26-2AD6-47D7-4CC3B32EEABB}"/>
          </ac:spMkLst>
        </pc:spChg>
        <pc:picChg chg="add mod">
          <ac:chgData name="Thomas Stensitzki" userId="75cafe6b-2f2a-469b-85c4-eec3b9c972ba" providerId="ADAL" clId="{B1462F1E-0CE4-4310-BDB3-DCDEDFDFEA3A}" dt="2023-10-22T09:32:05.780" v="823" actId="14100"/>
          <ac:picMkLst>
            <pc:docMk/>
            <pc:sldMk cId="1889968485" sldId="747"/>
            <ac:picMk id="4098" creationId="{D73AD4C7-FB43-E86C-C0D8-D1374E432BC6}"/>
          </ac:picMkLst>
        </pc:picChg>
        <pc:picChg chg="add mod">
          <ac:chgData name="Thomas Stensitzki" userId="75cafe6b-2f2a-469b-85c4-eec3b9c972ba" providerId="ADAL" clId="{B1462F1E-0CE4-4310-BDB3-DCDEDFDFEA3A}" dt="2023-10-22T09:32:21.738" v="827" actId="1076"/>
          <ac:picMkLst>
            <pc:docMk/>
            <pc:sldMk cId="1889968485" sldId="747"/>
            <ac:picMk id="4100" creationId="{ADF3CAFC-0E08-EE5F-F477-91C87E8C729E}"/>
          </ac:picMkLst>
        </pc:picChg>
      </pc:sldChg>
      <pc:sldChg chg="del">
        <pc:chgData name="Thomas Stensitzki" userId="75cafe6b-2f2a-469b-85c4-eec3b9c972ba" providerId="ADAL" clId="{B1462F1E-0CE4-4310-BDB3-DCDEDFDFEA3A}" dt="2023-08-14T14:44:39.723" v="72" actId="47"/>
        <pc:sldMkLst>
          <pc:docMk/>
          <pc:sldMk cId="2976596190" sldId="747"/>
        </pc:sldMkLst>
      </pc:sldChg>
      <pc:sldChg chg="addSp delSp modSp add mod">
        <pc:chgData name="Thomas Stensitzki" userId="75cafe6b-2f2a-469b-85c4-eec3b9c972ba" providerId="ADAL" clId="{B1462F1E-0CE4-4310-BDB3-DCDEDFDFEA3A}" dt="2023-10-22T09:33:04.527" v="837" actId="478"/>
        <pc:sldMkLst>
          <pc:docMk/>
          <pc:sldMk cId="1375897934" sldId="748"/>
        </pc:sldMkLst>
        <pc:spChg chg="del">
          <ac:chgData name="Thomas Stensitzki" userId="75cafe6b-2f2a-469b-85c4-eec3b9c972ba" providerId="ADAL" clId="{B1462F1E-0CE4-4310-BDB3-DCDEDFDFEA3A}" dt="2023-10-22T09:32:44.791" v="831" actId="478"/>
          <ac:spMkLst>
            <pc:docMk/>
            <pc:sldMk cId="1375897934" sldId="748"/>
            <ac:spMk id="3" creationId="{8706F04D-9E26-2AD6-47D7-4CC3B32EEABB}"/>
          </ac:spMkLst>
        </pc:spChg>
        <pc:spChg chg="add del mod">
          <ac:chgData name="Thomas Stensitzki" userId="75cafe6b-2f2a-469b-85c4-eec3b9c972ba" providerId="ADAL" clId="{B1462F1E-0CE4-4310-BDB3-DCDEDFDFEA3A}" dt="2023-10-22T09:33:04.527" v="837" actId="478"/>
          <ac:spMkLst>
            <pc:docMk/>
            <pc:sldMk cId="1375897934" sldId="748"/>
            <ac:spMk id="5" creationId="{58A69A0F-AE67-A29D-686E-6F6A3814A2CA}"/>
          </ac:spMkLst>
        </pc:spChg>
        <pc:picChg chg="del">
          <ac:chgData name="Thomas Stensitzki" userId="75cafe6b-2f2a-469b-85c4-eec3b9c972ba" providerId="ADAL" clId="{B1462F1E-0CE4-4310-BDB3-DCDEDFDFEA3A}" dt="2023-10-22T09:32:42.449" v="829" actId="478"/>
          <ac:picMkLst>
            <pc:docMk/>
            <pc:sldMk cId="1375897934" sldId="748"/>
            <ac:picMk id="4098" creationId="{D73AD4C7-FB43-E86C-C0D8-D1374E432BC6}"/>
          </ac:picMkLst>
        </pc:picChg>
        <pc:picChg chg="del">
          <ac:chgData name="Thomas Stensitzki" userId="75cafe6b-2f2a-469b-85c4-eec3b9c972ba" providerId="ADAL" clId="{B1462F1E-0CE4-4310-BDB3-DCDEDFDFEA3A}" dt="2023-10-22T09:32:43.079" v="830" actId="478"/>
          <ac:picMkLst>
            <pc:docMk/>
            <pc:sldMk cId="1375897934" sldId="748"/>
            <ac:picMk id="4100" creationId="{ADF3CAFC-0E08-EE5F-F477-91C87E8C729E}"/>
          </ac:picMkLst>
        </pc:picChg>
        <pc:picChg chg="add mod">
          <ac:chgData name="Thomas Stensitzki" userId="75cafe6b-2f2a-469b-85c4-eec3b9c972ba" providerId="ADAL" clId="{B1462F1E-0CE4-4310-BDB3-DCDEDFDFEA3A}" dt="2023-10-22T09:33:01.293" v="836" actId="1076"/>
          <ac:picMkLst>
            <pc:docMk/>
            <pc:sldMk cId="1375897934" sldId="748"/>
            <ac:picMk id="5122" creationId="{807E35F9-5B86-FD00-9674-932C366C99DE}"/>
          </ac:picMkLst>
        </pc:picChg>
      </pc:sldChg>
      <pc:sldChg chg="del">
        <pc:chgData name="Thomas Stensitzki" userId="75cafe6b-2f2a-469b-85c4-eec3b9c972ba" providerId="ADAL" clId="{B1462F1E-0CE4-4310-BDB3-DCDEDFDFEA3A}" dt="2023-08-14T14:44:39.723" v="72" actId="47"/>
        <pc:sldMkLst>
          <pc:docMk/>
          <pc:sldMk cId="4294720854" sldId="748"/>
        </pc:sldMkLst>
      </pc:sldChg>
      <pc:sldChg chg="modSp new mod">
        <pc:chgData name="Thomas Stensitzki" userId="75cafe6b-2f2a-469b-85c4-eec3b9c972ba" providerId="ADAL" clId="{B1462F1E-0CE4-4310-BDB3-DCDEDFDFEA3A}" dt="2023-10-26T09:30:35.909" v="2540" actId="6549"/>
        <pc:sldMkLst>
          <pc:docMk/>
          <pc:sldMk cId="1278550352" sldId="749"/>
        </pc:sldMkLst>
        <pc:spChg chg="mod">
          <ac:chgData name="Thomas Stensitzki" userId="75cafe6b-2f2a-469b-85c4-eec3b9c972ba" providerId="ADAL" clId="{B1462F1E-0CE4-4310-BDB3-DCDEDFDFEA3A}" dt="2023-10-22T09:33:56.492" v="841"/>
          <ac:spMkLst>
            <pc:docMk/>
            <pc:sldMk cId="1278550352" sldId="749"/>
            <ac:spMk id="2" creationId="{8876B3AB-B16E-287E-1316-672F0258B59F}"/>
          </ac:spMkLst>
        </pc:spChg>
        <pc:spChg chg="mod">
          <ac:chgData name="Thomas Stensitzki" userId="75cafe6b-2f2a-469b-85c4-eec3b9c972ba" providerId="ADAL" clId="{B1462F1E-0CE4-4310-BDB3-DCDEDFDFEA3A}" dt="2023-10-26T09:30:35.909" v="2540" actId="6549"/>
          <ac:spMkLst>
            <pc:docMk/>
            <pc:sldMk cId="1278550352" sldId="749"/>
            <ac:spMk id="3" creationId="{6F71AECF-7BA4-6357-1CF7-55976CB658A2}"/>
          </ac:spMkLst>
        </pc:spChg>
      </pc:sldChg>
      <pc:sldChg chg="del">
        <pc:chgData name="Thomas Stensitzki" userId="75cafe6b-2f2a-469b-85c4-eec3b9c972ba" providerId="ADAL" clId="{B1462F1E-0CE4-4310-BDB3-DCDEDFDFEA3A}" dt="2023-08-14T14:44:39.723" v="72" actId="47"/>
        <pc:sldMkLst>
          <pc:docMk/>
          <pc:sldMk cId="2501624097" sldId="749"/>
        </pc:sldMkLst>
      </pc:sldChg>
      <pc:sldChg chg="modSp add mod">
        <pc:chgData name="Thomas Stensitzki" userId="75cafe6b-2f2a-469b-85c4-eec3b9c972ba" providerId="ADAL" clId="{B1462F1E-0CE4-4310-BDB3-DCDEDFDFEA3A}" dt="2023-10-22T09:38:09.725" v="1032" actId="20577"/>
        <pc:sldMkLst>
          <pc:docMk/>
          <pc:sldMk cId="381789784" sldId="750"/>
        </pc:sldMkLst>
        <pc:spChg chg="mod">
          <ac:chgData name="Thomas Stensitzki" userId="75cafe6b-2f2a-469b-85c4-eec3b9c972ba" providerId="ADAL" clId="{B1462F1E-0CE4-4310-BDB3-DCDEDFDFEA3A}" dt="2023-10-22T09:38:09.725" v="1032" actId="20577"/>
          <ac:spMkLst>
            <pc:docMk/>
            <pc:sldMk cId="381789784" sldId="750"/>
            <ac:spMk id="3" creationId="{6F71AECF-7BA4-6357-1CF7-55976CB658A2}"/>
          </ac:spMkLst>
        </pc:spChg>
      </pc:sldChg>
      <pc:sldChg chg="del">
        <pc:chgData name="Thomas Stensitzki" userId="75cafe6b-2f2a-469b-85c4-eec3b9c972ba" providerId="ADAL" clId="{B1462F1E-0CE4-4310-BDB3-DCDEDFDFEA3A}" dt="2023-08-14T14:44:39.723" v="72" actId="47"/>
        <pc:sldMkLst>
          <pc:docMk/>
          <pc:sldMk cId="2026815640" sldId="750"/>
        </pc:sldMkLst>
      </pc:sldChg>
      <pc:sldChg chg="addSp modSp new mod">
        <pc:chgData name="Thomas Stensitzki" userId="75cafe6b-2f2a-469b-85c4-eec3b9c972ba" providerId="ADAL" clId="{B1462F1E-0CE4-4310-BDB3-DCDEDFDFEA3A}" dt="2023-10-22T09:44:18.025" v="1328" actId="20577"/>
        <pc:sldMkLst>
          <pc:docMk/>
          <pc:sldMk cId="850467813" sldId="751"/>
        </pc:sldMkLst>
        <pc:spChg chg="mod">
          <ac:chgData name="Thomas Stensitzki" userId="75cafe6b-2f2a-469b-85c4-eec3b9c972ba" providerId="ADAL" clId="{B1462F1E-0CE4-4310-BDB3-DCDEDFDFEA3A}" dt="2023-10-22T09:38:41.188" v="1035"/>
          <ac:spMkLst>
            <pc:docMk/>
            <pc:sldMk cId="850467813" sldId="751"/>
            <ac:spMk id="2" creationId="{C78EAC81-864B-AA3C-02D2-FCFDCC05E799}"/>
          </ac:spMkLst>
        </pc:spChg>
        <pc:spChg chg="mod">
          <ac:chgData name="Thomas Stensitzki" userId="75cafe6b-2f2a-469b-85c4-eec3b9c972ba" providerId="ADAL" clId="{B1462F1E-0CE4-4310-BDB3-DCDEDFDFEA3A}" dt="2023-10-22T09:39:51.334" v="1037" actId="14100"/>
          <ac:spMkLst>
            <pc:docMk/>
            <pc:sldMk cId="850467813" sldId="751"/>
            <ac:spMk id="3" creationId="{4D4BEA8D-A210-D82C-3177-B513F5A60BD1}"/>
          </ac:spMkLst>
        </pc:spChg>
        <pc:graphicFrameChg chg="add mod modGraphic">
          <ac:chgData name="Thomas Stensitzki" userId="75cafe6b-2f2a-469b-85c4-eec3b9c972ba" providerId="ADAL" clId="{B1462F1E-0CE4-4310-BDB3-DCDEDFDFEA3A}" dt="2023-10-22T09:44:18.025" v="1328" actId="20577"/>
          <ac:graphicFrameMkLst>
            <pc:docMk/>
            <pc:sldMk cId="850467813" sldId="751"/>
            <ac:graphicFrameMk id="4" creationId="{AB2BAF3A-14CC-7EC2-1E5D-4A468DC169A3}"/>
          </ac:graphicFrameMkLst>
        </pc:graphicFrameChg>
      </pc:sldChg>
      <pc:sldChg chg="del">
        <pc:chgData name="Thomas Stensitzki" userId="75cafe6b-2f2a-469b-85c4-eec3b9c972ba" providerId="ADAL" clId="{B1462F1E-0CE4-4310-BDB3-DCDEDFDFEA3A}" dt="2023-08-14T14:44:46.963" v="73" actId="47"/>
        <pc:sldMkLst>
          <pc:docMk/>
          <pc:sldMk cId="1546711668" sldId="751"/>
        </pc:sldMkLst>
      </pc:sldChg>
      <pc:sldChg chg="del">
        <pc:chgData name="Thomas Stensitzki" userId="75cafe6b-2f2a-469b-85c4-eec3b9c972ba" providerId="ADAL" clId="{B1462F1E-0CE4-4310-BDB3-DCDEDFDFEA3A}" dt="2023-08-14T14:44:46.963" v="73" actId="47"/>
        <pc:sldMkLst>
          <pc:docMk/>
          <pc:sldMk cId="2598459548" sldId="752"/>
        </pc:sldMkLst>
      </pc:sldChg>
      <pc:sldChg chg="modSp add mod ord">
        <pc:chgData name="Thomas Stensitzki" userId="75cafe6b-2f2a-469b-85c4-eec3b9c972ba" providerId="ADAL" clId="{B1462F1E-0CE4-4310-BDB3-DCDEDFDFEA3A}" dt="2023-10-22T10:16:27.580" v="2507" actId="20577"/>
        <pc:sldMkLst>
          <pc:docMk/>
          <pc:sldMk cId="2617257881" sldId="752"/>
        </pc:sldMkLst>
        <pc:spChg chg="mod">
          <ac:chgData name="Thomas Stensitzki" userId="75cafe6b-2f2a-469b-85c4-eec3b9c972ba" providerId="ADAL" clId="{B1462F1E-0CE4-4310-BDB3-DCDEDFDFEA3A}" dt="2023-10-22T10:16:27.580" v="2507" actId="20577"/>
          <ac:spMkLst>
            <pc:docMk/>
            <pc:sldMk cId="2617257881" sldId="752"/>
            <ac:spMk id="5" creationId="{C24DACB5-1BEC-4C86-9652-BAFD8DE56FEF}"/>
          </ac:spMkLst>
        </pc:spChg>
      </pc:sldChg>
      <pc:sldChg chg="del">
        <pc:chgData name="Thomas Stensitzki" userId="75cafe6b-2f2a-469b-85c4-eec3b9c972ba" providerId="ADAL" clId="{B1462F1E-0CE4-4310-BDB3-DCDEDFDFEA3A}" dt="2023-08-14T14:44:39.723" v="72" actId="47"/>
        <pc:sldMkLst>
          <pc:docMk/>
          <pc:sldMk cId="3863686543" sldId="753"/>
        </pc:sldMkLst>
      </pc:sldChg>
      <pc:sldChg chg="modSp new mod">
        <pc:chgData name="Thomas Stensitzki" userId="75cafe6b-2f2a-469b-85c4-eec3b9c972ba" providerId="ADAL" clId="{B1462F1E-0CE4-4310-BDB3-DCDEDFDFEA3A}" dt="2023-10-22T09:48:47.842" v="1581"/>
        <pc:sldMkLst>
          <pc:docMk/>
          <pc:sldMk cId="4180603478" sldId="753"/>
        </pc:sldMkLst>
        <pc:spChg chg="mod">
          <ac:chgData name="Thomas Stensitzki" userId="75cafe6b-2f2a-469b-85c4-eec3b9c972ba" providerId="ADAL" clId="{B1462F1E-0CE4-4310-BDB3-DCDEDFDFEA3A}" dt="2023-10-22T09:45:50.865" v="1340"/>
          <ac:spMkLst>
            <pc:docMk/>
            <pc:sldMk cId="4180603478" sldId="753"/>
            <ac:spMk id="2" creationId="{A1901751-DFFE-9E9E-F49E-74C83804C907}"/>
          </ac:spMkLst>
        </pc:spChg>
        <pc:spChg chg="mod">
          <ac:chgData name="Thomas Stensitzki" userId="75cafe6b-2f2a-469b-85c4-eec3b9c972ba" providerId="ADAL" clId="{B1462F1E-0CE4-4310-BDB3-DCDEDFDFEA3A}" dt="2023-10-22T09:48:47.842" v="1581"/>
          <ac:spMkLst>
            <pc:docMk/>
            <pc:sldMk cId="4180603478" sldId="753"/>
            <ac:spMk id="3" creationId="{21F9DBD2-F7BC-E468-F48B-85D0BC462445}"/>
          </ac:spMkLst>
        </pc:spChg>
      </pc:sldChg>
      <pc:sldChg chg="addSp delSp modSp new mod">
        <pc:chgData name="Thomas Stensitzki" userId="75cafe6b-2f2a-469b-85c4-eec3b9c972ba" providerId="ADAL" clId="{B1462F1E-0CE4-4310-BDB3-DCDEDFDFEA3A}" dt="2023-10-22T09:51:24.356" v="1629" actId="1076"/>
        <pc:sldMkLst>
          <pc:docMk/>
          <pc:sldMk cId="245637279" sldId="754"/>
        </pc:sldMkLst>
        <pc:spChg chg="mod">
          <ac:chgData name="Thomas Stensitzki" userId="75cafe6b-2f2a-469b-85c4-eec3b9c972ba" providerId="ADAL" clId="{B1462F1E-0CE4-4310-BDB3-DCDEDFDFEA3A}" dt="2023-10-22T09:49:51.393" v="1585"/>
          <ac:spMkLst>
            <pc:docMk/>
            <pc:sldMk cId="245637279" sldId="754"/>
            <ac:spMk id="2" creationId="{22C56AED-4985-C750-1F3A-78C1C47C7FEC}"/>
          </ac:spMkLst>
        </pc:spChg>
        <pc:spChg chg="del">
          <ac:chgData name="Thomas Stensitzki" userId="75cafe6b-2f2a-469b-85c4-eec3b9c972ba" providerId="ADAL" clId="{B1462F1E-0CE4-4310-BDB3-DCDEDFDFEA3A}" dt="2023-10-22T09:51:07.517" v="1624" actId="478"/>
          <ac:spMkLst>
            <pc:docMk/>
            <pc:sldMk cId="245637279" sldId="754"/>
            <ac:spMk id="3" creationId="{5E9645CC-F51E-762D-58B1-D34B3EF4F333}"/>
          </ac:spMkLst>
        </pc:spChg>
        <pc:spChg chg="add mod">
          <ac:chgData name="Thomas Stensitzki" userId="75cafe6b-2f2a-469b-85c4-eec3b9c972ba" providerId="ADAL" clId="{B1462F1E-0CE4-4310-BDB3-DCDEDFDFEA3A}" dt="2023-10-22T09:51:04.618" v="1623" actId="1076"/>
          <ac:spMkLst>
            <pc:docMk/>
            <pc:sldMk cId="245637279" sldId="754"/>
            <ac:spMk id="5" creationId="{6E9B5E34-0BF9-D9FB-709D-A8A381461F0F}"/>
          </ac:spMkLst>
        </pc:spChg>
        <pc:picChg chg="add mod">
          <ac:chgData name="Thomas Stensitzki" userId="75cafe6b-2f2a-469b-85c4-eec3b9c972ba" providerId="ADAL" clId="{B1462F1E-0CE4-4310-BDB3-DCDEDFDFEA3A}" dt="2023-10-22T09:51:24.356" v="1629" actId="1076"/>
          <ac:picMkLst>
            <pc:docMk/>
            <pc:sldMk cId="245637279" sldId="754"/>
            <ac:picMk id="6146" creationId="{E6D9661D-DA30-99FA-BAE2-953D554CA6DF}"/>
          </ac:picMkLst>
        </pc:picChg>
      </pc:sldChg>
      <pc:sldChg chg="del">
        <pc:chgData name="Thomas Stensitzki" userId="75cafe6b-2f2a-469b-85c4-eec3b9c972ba" providerId="ADAL" clId="{B1462F1E-0CE4-4310-BDB3-DCDEDFDFEA3A}" dt="2023-08-14T14:44:39.723" v="72" actId="47"/>
        <pc:sldMkLst>
          <pc:docMk/>
          <pc:sldMk cId="4175667725" sldId="754"/>
        </pc:sldMkLst>
      </pc:sldChg>
      <pc:sldChg chg="del">
        <pc:chgData name="Thomas Stensitzki" userId="75cafe6b-2f2a-469b-85c4-eec3b9c972ba" providerId="ADAL" clId="{B1462F1E-0CE4-4310-BDB3-DCDEDFDFEA3A}" dt="2023-08-14T14:44:39.723" v="72" actId="47"/>
        <pc:sldMkLst>
          <pc:docMk/>
          <pc:sldMk cId="2580803171" sldId="755"/>
        </pc:sldMkLst>
      </pc:sldChg>
      <pc:sldChg chg="modSp add">
        <pc:chgData name="Thomas Stensitzki" userId="75cafe6b-2f2a-469b-85c4-eec3b9c972ba" providerId="ADAL" clId="{B1462F1E-0CE4-4310-BDB3-DCDEDFDFEA3A}" dt="2023-10-22T09:56:10.317" v="1635" actId="14826"/>
        <pc:sldMkLst>
          <pc:docMk/>
          <pc:sldMk cId="3001994711" sldId="755"/>
        </pc:sldMkLst>
        <pc:picChg chg="mod">
          <ac:chgData name="Thomas Stensitzki" userId="75cafe6b-2f2a-469b-85c4-eec3b9c972ba" providerId="ADAL" clId="{B1462F1E-0CE4-4310-BDB3-DCDEDFDFEA3A}" dt="2023-10-22T09:56:10.317" v="1635" actId="14826"/>
          <ac:picMkLst>
            <pc:docMk/>
            <pc:sldMk cId="3001994711" sldId="755"/>
            <ac:picMk id="6146" creationId="{E6D9661D-DA30-99FA-BAE2-953D554CA6DF}"/>
          </ac:picMkLst>
        </pc:picChg>
      </pc:sldChg>
      <pc:sldChg chg="addSp delSp modSp new mod">
        <pc:chgData name="Thomas Stensitzki" userId="75cafe6b-2f2a-469b-85c4-eec3b9c972ba" providerId="ADAL" clId="{B1462F1E-0CE4-4310-BDB3-DCDEDFDFEA3A}" dt="2023-10-22T09:58:49.182" v="1661" actId="1440"/>
        <pc:sldMkLst>
          <pc:docMk/>
          <pc:sldMk cId="495742784" sldId="756"/>
        </pc:sldMkLst>
        <pc:spChg chg="mod">
          <ac:chgData name="Thomas Stensitzki" userId="75cafe6b-2f2a-469b-85c4-eec3b9c972ba" providerId="ADAL" clId="{B1462F1E-0CE4-4310-BDB3-DCDEDFDFEA3A}" dt="2023-10-22T09:57:18.570" v="1641" actId="6549"/>
          <ac:spMkLst>
            <pc:docMk/>
            <pc:sldMk cId="495742784" sldId="756"/>
            <ac:spMk id="2" creationId="{CA7F7A1D-5D7D-FF1F-4DD4-0C8C2713468E}"/>
          </ac:spMkLst>
        </pc:spChg>
        <pc:spChg chg="del">
          <ac:chgData name="Thomas Stensitzki" userId="75cafe6b-2f2a-469b-85c4-eec3b9c972ba" providerId="ADAL" clId="{B1462F1E-0CE4-4310-BDB3-DCDEDFDFEA3A}" dt="2023-10-22T09:57:27.384" v="1642" actId="478"/>
          <ac:spMkLst>
            <pc:docMk/>
            <pc:sldMk cId="495742784" sldId="756"/>
            <ac:spMk id="3" creationId="{B3DFDAF6-84DF-B6BE-A7DC-BDD125A121B1}"/>
          </ac:spMkLst>
        </pc:spChg>
        <pc:picChg chg="add mod">
          <ac:chgData name="Thomas Stensitzki" userId="75cafe6b-2f2a-469b-85c4-eec3b9c972ba" providerId="ADAL" clId="{B1462F1E-0CE4-4310-BDB3-DCDEDFDFEA3A}" dt="2023-10-22T09:58:49.182" v="1661" actId="1440"/>
          <ac:picMkLst>
            <pc:docMk/>
            <pc:sldMk cId="495742784" sldId="756"/>
            <ac:picMk id="4" creationId="{77012DCD-B808-FDA3-7BE4-98F129AE739F}"/>
          </ac:picMkLst>
        </pc:picChg>
        <pc:picChg chg="add mod">
          <ac:chgData name="Thomas Stensitzki" userId="75cafe6b-2f2a-469b-85c4-eec3b9c972ba" providerId="ADAL" clId="{B1462F1E-0CE4-4310-BDB3-DCDEDFDFEA3A}" dt="2023-10-22T09:58:49.182" v="1661" actId="1440"/>
          <ac:picMkLst>
            <pc:docMk/>
            <pc:sldMk cId="495742784" sldId="756"/>
            <ac:picMk id="5" creationId="{3742C661-9697-95D6-495A-2C41FCEF4E4F}"/>
          </ac:picMkLst>
        </pc:picChg>
        <pc:picChg chg="add mod">
          <ac:chgData name="Thomas Stensitzki" userId="75cafe6b-2f2a-469b-85c4-eec3b9c972ba" providerId="ADAL" clId="{B1462F1E-0CE4-4310-BDB3-DCDEDFDFEA3A}" dt="2023-10-22T09:58:49.182" v="1661" actId="1440"/>
          <ac:picMkLst>
            <pc:docMk/>
            <pc:sldMk cId="495742784" sldId="756"/>
            <ac:picMk id="6" creationId="{9EFBF646-632D-8B5B-DC46-4216D6681294}"/>
          </ac:picMkLst>
        </pc:picChg>
        <pc:picChg chg="add mod">
          <ac:chgData name="Thomas Stensitzki" userId="75cafe6b-2f2a-469b-85c4-eec3b9c972ba" providerId="ADAL" clId="{B1462F1E-0CE4-4310-BDB3-DCDEDFDFEA3A}" dt="2023-10-22T09:58:49.182" v="1661" actId="1440"/>
          <ac:picMkLst>
            <pc:docMk/>
            <pc:sldMk cId="495742784" sldId="756"/>
            <ac:picMk id="7" creationId="{BB90FE5B-97AE-1067-EEB5-145AAB8510A1}"/>
          </ac:picMkLst>
        </pc:picChg>
        <pc:picChg chg="add del">
          <ac:chgData name="Thomas Stensitzki" userId="75cafe6b-2f2a-469b-85c4-eec3b9c972ba" providerId="ADAL" clId="{B1462F1E-0CE4-4310-BDB3-DCDEDFDFEA3A}" dt="2023-10-22T09:57:47.852" v="1650"/>
          <ac:picMkLst>
            <pc:docMk/>
            <pc:sldMk cId="495742784" sldId="756"/>
            <ac:picMk id="7170" creationId="{5DB98872-1E46-BBF2-EDA9-4F42900D3129}"/>
          </ac:picMkLst>
        </pc:picChg>
      </pc:sldChg>
      <pc:sldChg chg="del">
        <pc:chgData name="Thomas Stensitzki" userId="75cafe6b-2f2a-469b-85c4-eec3b9c972ba" providerId="ADAL" clId="{B1462F1E-0CE4-4310-BDB3-DCDEDFDFEA3A}" dt="2023-08-14T14:44:39.723" v="72" actId="47"/>
        <pc:sldMkLst>
          <pc:docMk/>
          <pc:sldMk cId="3441249704" sldId="756"/>
        </pc:sldMkLst>
      </pc:sldChg>
      <pc:sldChg chg="modSp new mod">
        <pc:chgData name="Thomas Stensitzki" userId="75cafe6b-2f2a-469b-85c4-eec3b9c972ba" providerId="ADAL" clId="{B1462F1E-0CE4-4310-BDB3-DCDEDFDFEA3A}" dt="2023-10-22T10:03:02.588" v="2010" actId="20577"/>
        <pc:sldMkLst>
          <pc:docMk/>
          <pc:sldMk cId="132134635" sldId="757"/>
        </pc:sldMkLst>
        <pc:spChg chg="mod">
          <ac:chgData name="Thomas Stensitzki" userId="75cafe6b-2f2a-469b-85c4-eec3b9c972ba" providerId="ADAL" clId="{B1462F1E-0CE4-4310-BDB3-DCDEDFDFEA3A}" dt="2023-10-22T09:59:35.171" v="1665"/>
          <ac:spMkLst>
            <pc:docMk/>
            <pc:sldMk cId="132134635" sldId="757"/>
            <ac:spMk id="2" creationId="{9BBC6F39-39BE-5CBE-3253-AD50C56296D9}"/>
          </ac:spMkLst>
        </pc:spChg>
        <pc:spChg chg="mod">
          <ac:chgData name="Thomas Stensitzki" userId="75cafe6b-2f2a-469b-85c4-eec3b9c972ba" providerId="ADAL" clId="{B1462F1E-0CE4-4310-BDB3-DCDEDFDFEA3A}" dt="2023-10-22T10:03:02.588" v="2010" actId="20577"/>
          <ac:spMkLst>
            <pc:docMk/>
            <pc:sldMk cId="132134635" sldId="757"/>
            <ac:spMk id="3" creationId="{B503C17A-AFE5-DBDC-0647-30AF9B7C6DB7}"/>
          </ac:spMkLst>
        </pc:spChg>
      </pc:sldChg>
      <pc:sldChg chg="del">
        <pc:chgData name="Thomas Stensitzki" userId="75cafe6b-2f2a-469b-85c4-eec3b9c972ba" providerId="ADAL" clId="{B1462F1E-0CE4-4310-BDB3-DCDEDFDFEA3A}" dt="2023-08-14T14:44:39.723" v="72" actId="47"/>
        <pc:sldMkLst>
          <pc:docMk/>
          <pc:sldMk cId="2120421256" sldId="757"/>
        </pc:sldMkLst>
      </pc:sldChg>
      <pc:sldChg chg="addSp delSp modSp new mod">
        <pc:chgData name="Thomas Stensitzki" userId="75cafe6b-2f2a-469b-85c4-eec3b9c972ba" providerId="ADAL" clId="{B1462F1E-0CE4-4310-BDB3-DCDEDFDFEA3A}" dt="2023-10-22T10:04:15.344" v="2018" actId="1076"/>
        <pc:sldMkLst>
          <pc:docMk/>
          <pc:sldMk cId="2284546408" sldId="758"/>
        </pc:sldMkLst>
        <pc:spChg chg="mod">
          <ac:chgData name="Thomas Stensitzki" userId="75cafe6b-2f2a-469b-85c4-eec3b9c972ba" providerId="ADAL" clId="{B1462F1E-0CE4-4310-BDB3-DCDEDFDFEA3A}" dt="2023-10-22T10:03:55.461" v="2014"/>
          <ac:spMkLst>
            <pc:docMk/>
            <pc:sldMk cId="2284546408" sldId="758"/>
            <ac:spMk id="2" creationId="{6E62727E-4CB7-6B7A-043F-0F2A1E056316}"/>
          </ac:spMkLst>
        </pc:spChg>
        <pc:spChg chg="del">
          <ac:chgData name="Thomas Stensitzki" userId="75cafe6b-2f2a-469b-85c4-eec3b9c972ba" providerId="ADAL" clId="{B1462F1E-0CE4-4310-BDB3-DCDEDFDFEA3A}" dt="2023-10-22T10:04:08.961" v="2015" actId="478"/>
          <ac:spMkLst>
            <pc:docMk/>
            <pc:sldMk cId="2284546408" sldId="758"/>
            <ac:spMk id="3" creationId="{2027E923-2603-48D5-4378-B356477A3D56}"/>
          </ac:spMkLst>
        </pc:spChg>
        <pc:picChg chg="add mod">
          <ac:chgData name="Thomas Stensitzki" userId="75cafe6b-2f2a-469b-85c4-eec3b9c972ba" providerId="ADAL" clId="{B1462F1E-0CE4-4310-BDB3-DCDEDFDFEA3A}" dt="2023-10-22T10:04:15.344" v="2018" actId="1076"/>
          <ac:picMkLst>
            <pc:docMk/>
            <pc:sldMk cId="2284546408" sldId="758"/>
            <ac:picMk id="8194" creationId="{B39A795C-4B0E-9043-2B1C-F6C04AA3EC9A}"/>
          </ac:picMkLst>
        </pc:picChg>
      </pc:sldChg>
      <pc:sldChg chg="del">
        <pc:chgData name="Thomas Stensitzki" userId="75cafe6b-2f2a-469b-85c4-eec3b9c972ba" providerId="ADAL" clId="{B1462F1E-0CE4-4310-BDB3-DCDEDFDFEA3A}" dt="2023-08-14T14:44:39.723" v="72" actId="47"/>
        <pc:sldMkLst>
          <pc:docMk/>
          <pc:sldMk cId="3538299181" sldId="758"/>
        </pc:sldMkLst>
      </pc:sldChg>
      <pc:sldChg chg="del">
        <pc:chgData name="Thomas Stensitzki" userId="75cafe6b-2f2a-469b-85c4-eec3b9c972ba" providerId="ADAL" clId="{B1462F1E-0CE4-4310-BDB3-DCDEDFDFEA3A}" dt="2023-08-14T14:44:46.963" v="73" actId="47"/>
        <pc:sldMkLst>
          <pc:docMk/>
          <pc:sldMk cId="2253260559" sldId="759"/>
        </pc:sldMkLst>
      </pc:sldChg>
      <pc:sldChg chg="addSp delSp modSp new mod">
        <pc:chgData name="Thomas Stensitzki" userId="75cafe6b-2f2a-469b-85c4-eec3b9c972ba" providerId="ADAL" clId="{B1462F1E-0CE4-4310-BDB3-DCDEDFDFEA3A}" dt="2023-10-22T10:08:21.835" v="2321" actId="20577"/>
        <pc:sldMkLst>
          <pc:docMk/>
          <pc:sldMk cId="3449039697" sldId="759"/>
        </pc:sldMkLst>
        <pc:spChg chg="mod">
          <ac:chgData name="Thomas Stensitzki" userId="75cafe6b-2f2a-469b-85c4-eec3b9c972ba" providerId="ADAL" clId="{B1462F1E-0CE4-4310-BDB3-DCDEDFDFEA3A}" dt="2023-10-22T10:04:48.678" v="2025"/>
          <ac:spMkLst>
            <pc:docMk/>
            <pc:sldMk cId="3449039697" sldId="759"/>
            <ac:spMk id="2" creationId="{700C0F88-9477-8548-A548-573AA223F331}"/>
          </ac:spMkLst>
        </pc:spChg>
        <pc:spChg chg="del">
          <ac:chgData name="Thomas Stensitzki" userId="75cafe6b-2f2a-469b-85c4-eec3b9c972ba" providerId="ADAL" clId="{B1462F1E-0CE4-4310-BDB3-DCDEDFDFEA3A}" dt="2023-10-22T10:04:53.575" v="2026" actId="478"/>
          <ac:spMkLst>
            <pc:docMk/>
            <pc:sldMk cId="3449039697" sldId="759"/>
            <ac:spMk id="3" creationId="{A06C6B69-F0DE-755B-6165-E2A96019BA79}"/>
          </ac:spMkLst>
        </pc:spChg>
        <pc:spChg chg="add mod">
          <ac:chgData name="Thomas Stensitzki" userId="75cafe6b-2f2a-469b-85c4-eec3b9c972ba" providerId="ADAL" clId="{B1462F1E-0CE4-4310-BDB3-DCDEDFDFEA3A}" dt="2023-10-22T10:08:21.835" v="2321" actId="20577"/>
          <ac:spMkLst>
            <pc:docMk/>
            <pc:sldMk cId="3449039697" sldId="759"/>
            <ac:spMk id="4" creationId="{3DDDDCCA-E741-D1A6-75B8-F0C6B176681D}"/>
          </ac:spMkLst>
        </pc:spChg>
        <pc:picChg chg="add del mod">
          <ac:chgData name="Thomas Stensitzki" userId="75cafe6b-2f2a-469b-85c4-eec3b9c972ba" providerId="ADAL" clId="{B1462F1E-0CE4-4310-BDB3-DCDEDFDFEA3A}" dt="2023-10-22T10:05:28.597" v="2033" actId="478"/>
          <ac:picMkLst>
            <pc:docMk/>
            <pc:sldMk cId="3449039697" sldId="759"/>
            <ac:picMk id="9218" creationId="{92D8097A-EAB5-3FD4-9FC1-6DC08DCD5D31}"/>
          </ac:picMkLst>
        </pc:picChg>
      </pc:sldChg>
      <pc:sldChg chg="add">
        <pc:chgData name="Thomas Stensitzki" userId="75cafe6b-2f2a-469b-85c4-eec3b9c972ba" providerId="ADAL" clId="{B1462F1E-0CE4-4310-BDB3-DCDEDFDFEA3A}" dt="2023-10-22T10:05:25.489" v="2032" actId="2890"/>
        <pc:sldMkLst>
          <pc:docMk/>
          <pc:sldMk cId="1212930002" sldId="760"/>
        </pc:sldMkLst>
      </pc:sldChg>
      <pc:sldChg chg="del">
        <pc:chgData name="Thomas Stensitzki" userId="75cafe6b-2f2a-469b-85c4-eec3b9c972ba" providerId="ADAL" clId="{B1462F1E-0CE4-4310-BDB3-DCDEDFDFEA3A}" dt="2023-08-14T14:44:46.963" v="73" actId="47"/>
        <pc:sldMkLst>
          <pc:docMk/>
          <pc:sldMk cId="3932105883" sldId="760"/>
        </pc:sldMkLst>
      </pc:sldChg>
      <pc:sldChg chg="modSp new mod">
        <pc:chgData name="Thomas Stensitzki" userId="75cafe6b-2f2a-469b-85c4-eec3b9c972ba" providerId="ADAL" clId="{B1462F1E-0CE4-4310-BDB3-DCDEDFDFEA3A}" dt="2023-10-22T10:09:51.790" v="2387" actId="15"/>
        <pc:sldMkLst>
          <pc:docMk/>
          <pc:sldMk cId="2936606080" sldId="761"/>
        </pc:sldMkLst>
        <pc:spChg chg="mod">
          <ac:chgData name="Thomas Stensitzki" userId="75cafe6b-2f2a-469b-85c4-eec3b9c972ba" providerId="ADAL" clId="{B1462F1E-0CE4-4310-BDB3-DCDEDFDFEA3A}" dt="2023-10-22T10:09:09.959" v="2336"/>
          <ac:spMkLst>
            <pc:docMk/>
            <pc:sldMk cId="2936606080" sldId="761"/>
            <ac:spMk id="2" creationId="{052B0509-F7A0-D935-5601-79EB8AA808FA}"/>
          </ac:spMkLst>
        </pc:spChg>
        <pc:spChg chg="mod">
          <ac:chgData name="Thomas Stensitzki" userId="75cafe6b-2f2a-469b-85c4-eec3b9c972ba" providerId="ADAL" clId="{B1462F1E-0CE4-4310-BDB3-DCDEDFDFEA3A}" dt="2023-10-22T10:09:51.790" v="2387" actId="15"/>
          <ac:spMkLst>
            <pc:docMk/>
            <pc:sldMk cId="2936606080" sldId="761"/>
            <ac:spMk id="3" creationId="{CB929649-1F92-2E41-5BFB-8D885A041FFA}"/>
          </ac:spMkLst>
        </pc:spChg>
      </pc:sldChg>
      <pc:sldChg chg="del">
        <pc:chgData name="Thomas Stensitzki" userId="75cafe6b-2f2a-469b-85c4-eec3b9c972ba" providerId="ADAL" clId="{B1462F1E-0CE4-4310-BDB3-DCDEDFDFEA3A}" dt="2023-08-14T14:44:46.963" v="73" actId="47"/>
        <pc:sldMkLst>
          <pc:docMk/>
          <pc:sldMk cId="3362652068" sldId="761"/>
        </pc:sldMkLst>
      </pc:sldChg>
      <pc:sldChg chg="modSp add mod ord">
        <pc:chgData name="Thomas Stensitzki" userId="75cafe6b-2f2a-469b-85c4-eec3b9c972ba" providerId="ADAL" clId="{B1462F1E-0CE4-4310-BDB3-DCDEDFDFEA3A}" dt="2023-10-22T10:10:19.989" v="2392"/>
        <pc:sldMkLst>
          <pc:docMk/>
          <pc:sldMk cId="817169500" sldId="762"/>
        </pc:sldMkLst>
        <pc:spChg chg="mod">
          <ac:chgData name="Thomas Stensitzki" userId="75cafe6b-2f2a-469b-85c4-eec3b9c972ba" providerId="ADAL" clId="{B1462F1E-0CE4-4310-BDB3-DCDEDFDFEA3A}" dt="2023-10-22T10:10:19.989" v="2392"/>
          <ac:spMkLst>
            <pc:docMk/>
            <pc:sldMk cId="817169500" sldId="762"/>
            <ac:spMk id="2" creationId="{6E62727E-4CB7-6B7A-043F-0F2A1E056316}"/>
          </ac:spMkLst>
        </pc:spChg>
        <pc:picChg chg="mod">
          <ac:chgData name="Thomas Stensitzki" userId="75cafe6b-2f2a-469b-85c4-eec3b9c972ba" providerId="ADAL" clId="{B1462F1E-0CE4-4310-BDB3-DCDEDFDFEA3A}" dt="2023-10-22T10:10:12.937" v="2391" actId="14826"/>
          <ac:picMkLst>
            <pc:docMk/>
            <pc:sldMk cId="817169500" sldId="762"/>
            <ac:picMk id="8194" creationId="{B39A795C-4B0E-9043-2B1C-F6C04AA3EC9A}"/>
          </ac:picMkLst>
        </pc:picChg>
      </pc:sldChg>
      <pc:sldChg chg="addSp modSp del mod">
        <pc:chgData name="Thomas Stensitzki" userId="75cafe6b-2f2a-469b-85c4-eec3b9c972ba" providerId="ADAL" clId="{B1462F1E-0CE4-4310-BDB3-DCDEDFDFEA3A}" dt="2023-10-21T14:40:38.874" v="398" actId="47"/>
        <pc:sldMkLst>
          <pc:docMk/>
          <pc:sldMk cId="1155620625" sldId="762"/>
        </pc:sldMkLst>
        <pc:spChg chg="mod">
          <ac:chgData name="Thomas Stensitzki" userId="75cafe6b-2f2a-469b-85c4-eec3b9c972ba" providerId="ADAL" clId="{B1462F1E-0CE4-4310-BDB3-DCDEDFDFEA3A}" dt="2023-08-14T14:47:11.094" v="113" actId="20577"/>
          <ac:spMkLst>
            <pc:docMk/>
            <pc:sldMk cId="1155620625" sldId="762"/>
            <ac:spMk id="4" creationId="{22178338-04CE-D0ED-FF1C-006DA86C3465}"/>
          </ac:spMkLst>
        </pc:spChg>
        <pc:spChg chg="mod">
          <ac:chgData name="Thomas Stensitzki" userId="75cafe6b-2f2a-469b-85c4-eec3b9c972ba" providerId="ADAL" clId="{B1462F1E-0CE4-4310-BDB3-DCDEDFDFEA3A}" dt="2023-08-14T15:00:27.359" v="251" actId="113"/>
          <ac:spMkLst>
            <pc:docMk/>
            <pc:sldMk cId="1155620625" sldId="762"/>
            <ac:spMk id="5" creationId="{E051A96C-66E0-5823-6CCB-1AD57472AD68}"/>
          </ac:spMkLst>
        </pc:spChg>
        <pc:picChg chg="add mod">
          <ac:chgData name="Thomas Stensitzki" userId="75cafe6b-2f2a-469b-85c4-eec3b9c972ba" providerId="ADAL" clId="{B1462F1E-0CE4-4310-BDB3-DCDEDFDFEA3A}" dt="2023-08-14T15:00:43.548" v="254" actId="1076"/>
          <ac:picMkLst>
            <pc:docMk/>
            <pc:sldMk cId="1155620625" sldId="762"/>
            <ac:picMk id="3" creationId="{A6AD01EF-A5F6-0EBF-181A-9B7E6860F0C5}"/>
          </ac:picMkLst>
        </pc:picChg>
        <pc:picChg chg="add mod">
          <ac:chgData name="Thomas Stensitzki" userId="75cafe6b-2f2a-469b-85c4-eec3b9c972ba" providerId="ADAL" clId="{B1462F1E-0CE4-4310-BDB3-DCDEDFDFEA3A}" dt="2023-08-14T15:02:42.731" v="262" actId="1076"/>
          <ac:picMkLst>
            <pc:docMk/>
            <pc:sldMk cId="1155620625" sldId="762"/>
            <ac:picMk id="7" creationId="{6781202D-2001-6B27-A943-AAF7B83F0D76}"/>
          </ac:picMkLst>
        </pc:picChg>
      </pc:sldChg>
      <pc:sldChg chg="addSp delSp modSp new del mod setBg modClrScheme chgLayout">
        <pc:chgData name="Thomas Stensitzki" userId="75cafe6b-2f2a-469b-85c4-eec3b9c972ba" providerId="ADAL" clId="{B1462F1E-0CE4-4310-BDB3-DCDEDFDFEA3A}" dt="2023-10-21T14:40:42.873" v="400" actId="47"/>
        <pc:sldMkLst>
          <pc:docMk/>
          <pc:sldMk cId="1641846161" sldId="763"/>
        </pc:sldMkLst>
        <pc:spChg chg="del mod ord">
          <ac:chgData name="Thomas Stensitzki" userId="75cafe6b-2f2a-469b-85c4-eec3b9c972ba" providerId="ADAL" clId="{B1462F1E-0CE4-4310-BDB3-DCDEDFDFEA3A}" dt="2023-08-14T14:45:41.797" v="77" actId="700"/>
          <ac:spMkLst>
            <pc:docMk/>
            <pc:sldMk cId="1641846161" sldId="763"/>
            <ac:spMk id="2" creationId="{4C5020C9-B624-7FFB-13A6-05243D44CF10}"/>
          </ac:spMkLst>
        </pc:spChg>
        <pc:spChg chg="del mod ord">
          <ac:chgData name="Thomas Stensitzki" userId="75cafe6b-2f2a-469b-85c4-eec3b9c972ba" providerId="ADAL" clId="{B1462F1E-0CE4-4310-BDB3-DCDEDFDFEA3A}" dt="2023-08-14T14:45:41.797" v="77" actId="700"/>
          <ac:spMkLst>
            <pc:docMk/>
            <pc:sldMk cId="1641846161" sldId="763"/>
            <ac:spMk id="3" creationId="{61D44FEF-C543-2BCC-7AFF-0E3030F50737}"/>
          </ac:spMkLst>
        </pc:spChg>
        <pc:spChg chg="add mod ord">
          <ac:chgData name="Thomas Stensitzki" userId="75cafe6b-2f2a-469b-85c4-eec3b9c972ba" providerId="ADAL" clId="{B1462F1E-0CE4-4310-BDB3-DCDEDFDFEA3A}" dt="2023-08-14T14:46:39.973" v="91" actId="26606"/>
          <ac:spMkLst>
            <pc:docMk/>
            <pc:sldMk cId="1641846161" sldId="763"/>
            <ac:spMk id="4" creationId="{A3DA713F-584F-BC94-0FD7-997781C0DDF7}"/>
          </ac:spMkLst>
        </pc:spChg>
        <pc:spChg chg="add mod ord">
          <ac:chgData name="Thomas Stensitzki" userId="75cafe6b-2f2a-469b-85c4-eec3b9c972ba" providerId="ADAL" clId="{B1462F1E-0CE4-4310-BDB3-DCDEDFDFEA3A}" dt="2023-08-14T14:46:39.973" v="91" actId="26606"/>
          <ac:spMkLst>
            <pc:docMk/>
            <pc:sldMk cId="1641846161" sldId="763"/>
            <ac:spMk id="5" creationId="{778FA543-80CD-FCD1-4878-3D3EB2910BDF}"/>
          </ac:spMkLst>
        </pc:spChg>
        <pc:spChg chg="add del">
          <ac:chgData name="Thomas Stensitzki" userId="75cafe6b-2f2a-469b-85c4-eec3b9c972ba" providerId="ADAL" clId="{B1462F1E-0CE4-4310-BDB3-DCDEDFDFEA3A}" dt="2023-08-14T14:46:39.973" v="91" actId="26606"/>
          <ac:spMkLst>
            <pc:docMk/>
            <pc:sldMk cId="1641846161" sldId="763"/>
            <ac:spMk id="10" creationId="{6DDA8CE9-E0A6-4FF2-823D-D08607606DC2}"/>
          </ac:spMkLst>
        </pc:spChg>
        <pc:spChg chg="add del">
          <ac:chgData name="Thomas Stensitzki" userId="75cafe6b-2f2a-469b-85c4-eec3b9c972ba" providerId="ADAL" clId="{B1462F1E-0CE4-4310-BDB3-DCDEDFDFEA3A}" dt="2023-08-14T14:46:06.462" v="83" actId="26606"/>
          <ac:spMkLst>
            <pc:docMk/>
            <pc:sldMk cId="1641846161" sldId="763"/>
            <ac:spMk id="12" creationId="{A3363022-C969-41E9-8EB2-E4C94908C1FA}"/>
          </ac:spMkLst>
        </pc:spChg>
        <pc:spChg chg="add del">
          <ac:chgData name="Thomas Stensitzki" userId="75cafe6b-2f2a-469b-85c4-eec3b9c972ba" providerId="ADAL" clId="{B1462F1E-0CE4-4310-BDB3-DCDEDFDFEA3A}" dt="2023-08-14T14:46:06.462" v="83" actId="26606"/>
          <ac:spMkLst>
            <pc:docMk/>
            <pc:sldMk cId="1641846161" sldId="763"/>
            <ac:spMk id="14" creationId="{8D1AD6B3-BE88-4CEB-BA17-790657CC4729}"/>
          </ac:spMkLst>
        </pc:spChg>
        <pc:spChg chg="add del">
          <ac:chgData name="Thomas Stensitzki" userId="75cafe6b-2f2a-469b-85c4-eec3b9c972ba" providerId="ADAL" clId="{B1462F1E-0CE4-4310-BDB3-DCDEDFDFEA3A}" dt="2023-08-14T14:46:39.973" v="91" actId="26606"/>
          <ac:spMkLst>
            <pc:docMk/>
            <pc:sldMk cId="1641846161" sldId="763"/>
            <ac:spMk id="24" creationId="{11195564-33B9-434B-9641-764F5905A56F}"/>
          </ac:spMkLst>
        </pc:spChg>
        <pc:spChg chg="add del">
          <ac:chgData name="Thomas Stensitzki" userId="75cafe6b-2f2a-469b-85c4-eec3b9c972ba" providerId="ADAL" clId="{B1462F1E-0CE4-4310-BDB3-DCDEDFDFEA3A}" dt="2023-08-14T14:46:29.439" v="86" actId="26606"/>
          <ac:spMkLst>
            <pc:docMk/>
            <pc:sldMk cId="1641846161" sldId="763"/>
            <ac:spMk id="35" creationId="{BEBFA723-5A7B-472D-ABD7-1526B8D3A38B}"/>
          </ac:spMkLst>
        </pc:spChg>
        <pc:spChg chg="add del">
          <ac:chgData name="Thomas Stensitzki" userId="75cafe6b-2f2a-469b-85c4-eec3b9c972ba" providerId="ADAL" clId="{B1462F1E-0CE4-4310-BDB3-DCDEDFDFEA3A}" dt="2023-08-14T14:46:29.439" v="86" actId="26606"/>
          <ac:spMkLst>
            <pc:docMk/>
            <pc:sldMk cId="1641846161" sldId="763"/>
            <ac:spMk id="37" creationId="{A6B27065-399A-4CF7-BF70-CF79B9848FC1}"/>
          </ac:spMkLst>
        </pc:spChg>
        <pc:spChg chg="add del">
          <ac:chgData name="Thomas Stensitzki" userId="75cafe6b-2f2a-469b-85c4-eec3b9c972ba" providerId="ADAL" clId="{B1462F1E-0CE4-4310-BDB3-DCDEDFDFEA3A}" dt="2023-08-14T14:46:31.752" v="88" actId="26606"/>
          <ac:spMkLst>
            <pc:docMk/>
            <pc:sldMk cId="1641846161" sldId="763"/>
            <ac:spMk id="44" creationId="{65219498-D544-41AC-98FE-8F956EF66A62}"/>
          </ac:spMkLst>
        </pc:spChg>
        <pc:spChg chg="add del">
          <ac:chgData name="Thomas Stensitzki" userId="75cafe6b-2f2a-469b-85c4-eec3b9c972ba" providerId="ADAL" clId="{B1462F1E-0CE4-4310-BDB3-DCDEDFDFEA3A}" dt="2023-08-14T14:46:31.752" v="88" actId="26606"/>
          <ac:spMkLst>
            <pc:docMk/>
            <pc:sldMk cId="1641846161" sldId="763"/>
            <ac:spMk id="45" creationId="{F500DBFC-17A9-4E0A-AEE2-A49F9AEEF0FD}"/>
          </ac:spMkLst>
        </pc:spChg>
        <pc:spChg chg="add del">
          <ac:chgData name="Thomas Stensitzki" userId="75cafe6b-2f2a-469b-85c4-eec3b9c972ba" providerId="ADAL" clId="{B1462F1E-0CE4-4310-BDB3-DCDEDFDFEA3A}" dt="2023-08-14T14:46:39.957" v="90" actId="26606"/>
          <ac:spMkLst>
            <pc:docMk/>
            <pc:sldMk cId="1641846161" sldId="763"/>
            <ac:spMk id="52" creationId="{6DBF50F6-DD88-4D9F-B7D3-79B989980940}"/>
          </ac:spMkLst>
        </pc:spChg>
        <pc:spChg chg="add del">
          <ac:chgData name="Thomas Stensitzki" userId="75cafe6b-2f2a-469b-85c4-eec3b9c972ba" providerId="ADAL" clId="{B1462F1E-0CE4-4310-BDB3-DCDEDFDFEA3A}" dt="2023-08-14T14:46:39.957" v="90" actId="26606"/>
          <ac:spMkLst>
            <pc:docMk/>
            <pc:sldMk cId="1641846161" sldId="763"/>
            <ac:spMk id="53" creationId="{916BBDC2-6929-469E-B7C4-A03E77BF94B0}"/>
          </ac:spMkLst>
        </pc:spChg>
        <pc:spChg chg="add">
          <ac:chgData name="Thomas Stensitzki" userId="75cafe6b-2f2a-469b-85c4-eec3b9c972ba" providerId="ADAL" clId="{B1462F1E-0CE4-4310-BDB3-DCDEDFDFEA3A}" dt="2023-08-14T14:46:39.973" v="91" actId="26606"/>
          <ac:spMkLst>
            <pc:docMk/>
            <pc:sldMk cId="1641846161" sldId="763"/>
            <ac:spMk id="63" creationId="{74751229-0244-4FBB-BED1-407467F4C951}"/>
          </ac:spMkLst>
        </pc:spChg>
        <pc:grpChg chg="add del">
          <ac:chgData name="Thomas Stensitzki" userId="75cafe6b-2f2a-469b-85c4-eec3b9c972ba" providerId="ADAL" clId="{B1462F1E-0CE4-4310-BDB3-DCDEDFDFEA3A}" dt="2023-08-14T14:46:06.462" v="83" actId="26606"/>
          <ac:grpSpMkLst>
            <pc:docMk/>
            <pc:sldMk cId="1641846161" sldId="763"/>
            <ac:grpSpMk id="16" creationId="{89D1390B-7E13-4B4F-9CB2-391063412E54}"/>
          </ac:grpSpMkLst>
        </pc:grpChg>
        <pc:grpChg chg="add del">
          <ac:chgData name="Thomas Stensitzki" userId="75cafe6b-2f2a-469b-85c4-eec3b9c972ba" providerId="ADAL" clId="{B1462F1E-0CE4-4310-BDB3-DCDEDFDFEA3A}" dt="2023-08-14T14:46:39.973" v="91" actId="26606"/>
          <ac:grpSpMkLst>
            <pc:docMk/>
            <pc:sldMk cId="1641846161" sldId="763"/>
            <ac:grpSpMk id="20" creationId="{5A1259D8-0C3A-4069-A22F-537BBBB61A9C}"/>
          </ac:grpSpMkLst>
        </pc:grpChg>
        <pc:grpChg chg="add del">
          <ac:chgData name="Thomas Stensitzki" userId="75cafe6b-2f2a-469b-85c4-eec3b9c972ba" providerId="ADAL" clId="{B1462F1E-0CE4-4310-BDB3-DCDEDFDFEA3A}" dt="2023-08-14T14:46:39.973" v="91" actId="26606"/>
          <ac:grpSpMkLst>
            <pc:docMk/>
            <pc:sldMk cId="1641846161" sldId="763"/>
            <ac:grpSpMk id="25" creationId="{1D18C537-E336-47C4-836B-C342A230F8F3}"/>
          </ac:grpSpMkLst>
        </pc:grpChg>
        <pc:grpChg chg="add del">
          <ac:chgData name="Thomas Stensitzki" userId="75cafe6b-2f2a-469b-85c4-eec3b9c972ba" providerId="ADAL" clId="{B1462F1E-0CE4-4310-BDB3-DCDEDFDFEA3A}" dt="2023-08-14T14:46:29.439" v="86" actId="26606"/>
          <ac:grpSpMkLst>
            <pc:docMk/>
            <pc:sldMk cId="1641846161" sldId="763"/>
            <ac:grpSpMk id="39" creationId="{CF22986C-DDF7-4109-9D6A-006800D6B041}"/>
          </ac:grpSpMkLst>
        </pc:grpChg>
        <pc:grpChg chg="add del">
          <ac:chgData name="Thomas Stensitzki" userId="75cafe6b-2f2a-469b-85c4-eec3b9c972ba" providerId="ADAL" clId="{B1462F1E-0CE4-4310-BDB3-DCDEDFDFEA3A}" dt="2023-08-14T14:46:31.752" v="88" actId="26606"/>
          <ac:grpSpMkLst>
            <pc:docMk/>
            <pc:sldMk cId="1641846161" sldId="763"/>
            <ac:grpSpMk id="46" creationId="{D74613BB-817C-4C4F-8A24-4936F2F064C0}"/>
          </ac:grpSpMkLst>
        </pc:grpChg>
        <pc:grpChg chg="add del">
          <ac:chgData name="Thomas Stensitzki" userId="75cafe6b-2f2a-469b-85c4-eec3b9c972ba" providerId="ADAL" clId="{B1462F1E-0CE4-4310-BDB3-DCDEDFDFEA3A}" dt="2023-08-14T14:46:39.957" v="90" actId="26606"/>
          <ac:grpSpMkLst>
            <pc:docMk/>
            <pc:sldMk cId="1641846161" sldId="763"/>
            <ac:grpSpMk id="54" creationId="{C344E6B5-C9F5-4338-9E33-003B12373104}"/>
          </ac:grpSpMkLst>
        </pc:grpChg>
        <pc:grpChg chg="add del">
          <ac:chgData name="Thomas Stensitzki" userId="75cafe6b-2f2a-469b-85c4-eec3b9c972ba" providerId="ADAL" clId="{B1462F1E-0CE4-4310-BDB3-DCDEDFDFEA3A}" dt="2023-08-14T14:46:39.957" v="90" actId="26606"/>
          <ac:grpSpMkLst>
            <pc:docMk/>
            <pc:sldMk cId="1641846161" sldId="763"/>
            <ac:grpSpMk id="57" creationId="{FDFEDBF7-8E2C-46B8-9095-AE1D77E21773}"/>
          </ac:grpSpMkLst>
        </pc:grpChg>
        <pc:picChg chg="add del">
          <ac:chgData name="Thomas Stensitzki" userId="75cafe6b-2f2a-469b-85c4-eec3b9c972ba" providerId="ADAL" clId="{B1462F1E-0CE4-4310-BDB3-DCDEDFDFEA3A}" dt="2023-08-14T14:46:06.462" v="83" actId="26606"/>
          <ac:picMkLst>
            <pc:docMk/>
            <pc:sldMk cId="1641846161" sldId="763"/>
            <ac:picMk id="9" creationId="{A742AAA3-7D3B-A102-C2C8-17E54979B712}"/>
          </ac:picMkLst>
        </pc:picChg>
        <pc:picChg chg="add del">
          <ac:chgData name="Thomas Stensitzki" userId="75cafe6b-2f2a-469b-85c4-eec3b9c972ba" providerId="ADAL" clId="{B1462F1E-0CE4-4310-BDB3-DCDEDFDFEA3A}" dt="2023-08-14T14:46:29.439" v="86" actId="26606"/>
          <ac:picMkLst>
            <pc:docMk/>
            <pc:sldMk cId="1641846161" sldId="763"/>
            <ac:picMk id="32" creationId="{F10ED702-DE75-6CC7-BAA3-A92A3263D099}"/>
          </ac:picMkLst>
        </pc:picChg>
        <pc:picChg chg="add">
          <ac:chgData name="Thomas Stensitzki" userId="75cafe6b-2f2a-469b-85c4-eec3b9c972ba" providerId="ADAL" clId="{B1462F1E-0CE4-4310-BDB3-DCDEDFDFEA3A}" dt="2023-08-14T14:46:39.973" v="91" actId="26606"/>
          <ac:picMkLst>
            <pc:docMk/>
            <pc:sldMk cId="1641846161" sldId="763"/>
            <ac:picMk id="34" creationId="{62B778F7-0F10-4640-B92C-CBE0CC1C8E78}"/>
          </ac:picMkLst>
        </pc:picChg>
        <pc:picChg chg="add del">
          <ac:chgData name="Thomas Stensitzki" userId="75cafe6b-2f2a-469b-85c4-eec3b9c972ba" providerId="ADAL" clId="{B1462F1E-0CE4-4310-BDB3-DCDEDFDFEA3A}" dt="2023-08-14T14:46:31.752" v="88" actId="26606"/>
          <ac:picMkLst>
            <pc:docMk/>
            <pc:sldMk cId="1641846161" sldId="763"/>
            <ac:picMk id="50" creationId="{11E4C180-E90A-7870-3B38-CA9B50ED00EA}"/>
          </ac:picMkLst>
        </pc:picChg>
        <pc:picChg chg="add del">
          <ac:chgData name="Thomas Stensitzki" userId="75cafe6b-2f2a-469b-85c4-eec3b9c972ba" providerId="ADAL" clId="{B1462F1E-0CE4-4310-BDB3-DCDEDFDFEA3A}" dt="2023-08-14T14:46:39.957" v="90" actId="26606"/>
          <ac:picMkLst>
            <pc:docMk/>
            <pc:sldMk cId="1641846161" sldId="763"/>
            <ac:picMk id="56" creationId="{095230B0-E3D4-1562-2D48-A73E1B1899D6}"/>
          </ac:picMkLst>
        </pc:picChg>
        <pc:picChg chg="add">
          <ac:chgData name="Thomas Stensitzki" userId="75cafe6b-2f2a-469b-85c4-eec3b9c972ba" providerId="ADAL" clId="{B1462F1E-0CE4-4310-BDB3-DCDEDFDFEA3A}" dt="2023-08-14T14:46:39.973" v="91" actId="26606"/>
          <ac:picMkLst>
            <pc:docMk/>
            <pc:sldMk cId="1641846161" sldId="763"/>
            <ac:picMk id="64" creationId="{B9E05867-B7E5-7BEA-C90C-F2B2F6D819A4}"/>
          </ac:picMkLst>
        </pc:picChg>
      </pc:sldChg>
      <pc:sldChg chg="modSp add mod ord">
        <pc:chgData name="Thomas Stensitzki" userId="75cafe6b-2f2a-469b-85c4-eec3b9c972ba" providerId="ADAL" clId="{B1462F1E-0CE4-4310-BDB3-DCDEDFDFEA3A}" dt="2023-10-31T11:27:18.103" v="3101" actId="14100"/>
        <pc:sldMkLst>
          <pc:docMk/>
          <pc:sldMk cId="1663945658" sldId="763"/>
        </pc:sldMkLst>
        <pc:spChg chg="mod">
          <ac:chgData name="Thomas Stensitzki" userId="75cafe6b-2f2a-469b-85c4-eec3b9c972ba" providerId="ADAL" clId="{B1462F1E-0CE4-4310-BDB3-DCDEDFDFEA3A}" dt="2023-10-31T11:27:18.103" v="3101" actId="14100"/>
          <ac:spMkLst>
            <pc:docMk/>
            <pc:sldMk cId="1663945658" sldId="763"/>
            <ac:spMk id="2" creationId="{909DC09D-B9A6-4493-9A72-1CA7ECB1F5CA}"/>
          </ac:spMkLst>
        </pc:spChg>
        <pc:spChg chg="mod">
          <ac:chgData name="Thomas Stensitzki" userId="75cafe6b-2f2a-469b-85c4-eec3b9c972ba" providerId="ADAL" clId="{B1462F1E-0CE4-4310-BDB3-DCDEDFDFEA3A}" dt="2023-10-26T17:23:10.594" v="3073" actId="20577"/>
          <ac:spMkLst>
            <pc:docMk/>
            <pc:sldMk cId="1663945658" sldId="763"/>
            <ac:spMk id="5" creationId="{C24DACB5-1BEC-4C86-9652-BAFD8DE56FEF}"/>
          </ac:spMkLst>
        </pc:spChg>
      </pc:sldChg>
      <pc:sldChg chg="del">
        <pc:chgData name="Thomas Stensitzki" userId="75cafe6b-2f2a-469b-85c4-eec3b9c972ba" providerId="ADAL" clId="{B1462F1E-0CE4-4310-BDB3-DCDEDFDFEA3A}" dt="2023-08-14T14:44:30.908" v="71" actId="47"/>
        <pc:sldMkLst>
          <pc:docMk/>
          <pc:sldMk cId="2162106461" sldId="763"/>
        </pc:sldMkLst>
      </pc:sldChg>
      <pc:sldChg chg="addSp delSp modSp new del mod modClrScheme chgLayout">
        <pc:chgData name="Thomas Stensitzki" userId="75cafe6b-2f2a-469b-85c4-eec3b9c972ba" providerId="ADAL" clId="{B1462F1E-0CE4-4310-BDB3-DCDEDFDFEA3A}" dt="2023-10-21T14:40:42.873" v="400" actId="47"/>
        <pc:sldMkLst>
          <pc:docMk/>
          <pc:sldMk cId="999070759" sldId="764"/>
        </pc:sldMkLst>
        <pc:spChg chg="del mod ord">
          <ac:chgData name="Thomas Stensitzki" userId="75cafe6b-2f2a-469b-85c4-eec3b9c972ba" providerId="ADAL" clId="{B1462F1E-0CE4-4310-BDB3-DCDEDFDFEA3A}" dt="2023-08-14T15:16:29.202" v="264" actId="700"/>
          <ac:spMkLst>
            <pc:docMk/>
            <pc:sldMk cId="999070759" sldId="764"/>
            <ac:spMk id="2" creationId="{DB6D1DC5-7B62-C75C-B373-DE97C93F7809}"/>
          </ac:spMkLst>
        </pc:spChg>
        <pc:spChg chg="del mod ord">
          <ac:chgData name="Thomas Stensitzki" userId="75cafe6b-2f2a-469b-85c4-eec3b9c972ba" providerId="ADAL" clId="{B1462F1E-0CE4-4310-BDB3-DCDEDFDFEA3A}" dt="2023-08-14T15:16:29.202" v="264" actId="700"/>
          <ac:spMkLst>
            <pc:docMk/>
            <pc:sldMk cId="999070759" sldId="764"/>
            <ac:spMk id="3" creationId="{1FFC3D5C-0632-C8C0-F839-B6D52508A740}"/>
          </ac:spMkLst>
        </pc:spChg>
        <pc:spChg chg="add mod ord">
          <ac:chgData name="Thomas Stensitzki" userId="75cafe6b-2f2a-469b-85c4-eec3b9c972ba" providerId="ADAL" clId="{B1462F1E-0CE4-4310-BDB3-DCDEDFDFEA3A}" dt="2023-08-14T15:16:33.461" v="279" actId="20577"/>
          <ac:spMkLst>
            <pc:docMk/>
            <pc:sldMk cId="999070759" sldId="764"/>
            <ac:spMk id="4" creationId="{D3FB94DB-D38F-CA60-DCB8-0FEF4F24D7C6}"/>
          </ac:spMkLst>
        </pc:spChg>
        <pc:spChg chg="add mod ord">
          <ac:chgData name="Thomas Stensitzki" userId="75cafe6b-2f2a-469b-85c4-eec3b9c972ba" providerId="ADAL" clId="{B1462F1E-0CE4-4310-BDB3-DCDEDFDFEA3A}" dt="2023-08-14T15:16:29.202" v="264" actId="700"/>
          <ac:spMkLst>
            <pc:docMk/>
            <pc:sldMk cId="999070759" sldId="764"/>
            <ac:spMk id="5" creationId="{8D62AC15-122C-80C9-8976-87857D2278B3}"/>
          </ac:spMkLst>
        </pc:spChg>
      </pc:sldChg>
      <pc:sldChg chg="addSp delSp modSp new mod">
        <pc:chgData name="Thomas Stensitzki" userId="75cafe6b-2f2a-469b-85c4-eec3b9c972ba" providerId="ADAL" clId="{B1462F1E-0CE4-4310-BDB3-DCDEDFDFEA3A}" dt="2023-10-22T10:14:25.265" v="2495" actId="1076"/>
        <pc:sldMkLst>
          <pc:docMk/>
          <pc:sldMk cId="1345283162" sldId="764"/>
        </pc:sldMkLst>
        <pc:spChg chg="mod">
          <ac:chgData name="Thomas Stensitzki" userId="75cafe6b-2f2a-469b-85c4-eec3b9c972ba" providerId="ADAL" clId="{B1462F1E-0CE4-4310-BDB3-DCDEDFDFEA3A}" dt="2023-10-22T10:11:32.716" v="2403"/>
          <ac:spMkLst>
            <pc:docMk/>
            <pc:sldMk cId="1345283162" sldId="764"/>
            <ac:spMk id="2" creationId="{D1197E69-E233-0B46-4F95-EE12CC1A77D2}"/>
          </ac:spMkLst>
        </pc:spChg>
        <pc:spChg chg="del">
          <ac:chgData name="Thomas Stensitzki" userId="75cafe6b-2f2a-469b-85c4-eec3b9c972ba" providerId="ADAL" clId="{B1462F1E-0CE4-4310-BDB3-DCDEDFDFEA3A}" dt="2023-10-22T10:11:52.474" v="2406" actId="478"/>
          <ac:spMkLst>
            <pc:docMk/>
            <pc:sldMk cId="1345283162" sldId="764"/>
            <ac:spMk id="3" creationId="{57140876-07BA-4E68-2494-01078A3295E3}"/>
          </ac:spMkLst>
        </pc:spChg>
        <pc:spChg chg="add mod">
          <ac:chgData name="Thomas Stensitzki" userId="75cafe6b-2f2a-469b-85c4-eec3b9c972ba" providerId="ADAL" clId="{B1462F1E-0CE4-4310-BDB3-DCDEDFDFEA3A}" dt="2023-10-22T10:14:00.474" v="2493" actId="1582"/>
          <ac:spMkLst>
            <pc:docMk/>
            <pc:sldMk cId="1345283162" sldId="764"/>
            <ac:spMk id="5" creationId="{25904851-8CF3-DBB5-D8D8-E205C39A75E8}"/>
          </ac:spMkLst>
        </pc:spChg>
        <pc:picChg chg="add mod">
          <ac:chgData name="Thomas Stensitzki" userId="75cafe6b-2f2a-469b-85c4-eec3b9c972ba" providerId="ADAL" clId="{B1462F1E-0CE4-4310-BDB3-DCDEDFDFEA3A}" dt="2023-10-22T10:12:04.463" v="2411" actId="1076"/>
          <ac:picMkLst>
            <pc:docMk/>
            <pc:sldMk cId="1345283162" sldId="764"/>
            <ac:picMk id="4" creationId="{C642694B-2B18-BF8D-2F85-E0CBD15FEA05}"/>
          </ac:picMkLst>
        </pc:picChg>
        <pc:picChg chg="add mod">
          <ac:chgData name="Thomas Stensitzki" userId="75cafe6b-2f2a-469b-85c4-eec3b9c972ba" providerId="ADAL" clId="{B1462F1E-0CE4-4310-BDB3-DCDEDFDFEA3A}" dt="2023-10-22T10:14:25.265" v="2495" actId="1076"/>
          <ac:picMkLst>
            <pc:docMk/>
            <pc:sldMk cId="1345283162" sldId="764"/>
            <ac:picMk id="7" creationId="{3969CE17-17A6-A769-AE86-BECF751A8CAB}"/>
          </ac:picMkLst>
        </pc:picChg>
      </pc:sldChg>
      <pc:sldChg chg="del">
        <pc:chgData name="Thomas Stensitzki" userId="75cafe6b-2f2a-469b-85c4-eec3b9c972ba" providerId="ADAL" clId="{B1462F1E-0CE4-4310-BDB3-DCDEDFDFEA3A}" dt="2023-08-14T14:44:30.908" v="71" actId="47"/>
        <pc:sldMkLst>
          <pc:docMk/>
          <pc:sldMk cId="3624400259" sldId="764"/>
        </pc:sldMkLst>
      </pc:sldChg>
      <pc:sldChg chg="modSp new mod">
        <pc:chgData name="Thomas Stensitzki" userId="75cafe6b-2f2a-469b-85c4-eec3b9c972ba" providerId="ADAL" clId="{B1462F1E-0CE4-4310-BDB3-DCDEDFDFEA3A}" dt="2023-10-22T10:16:47.475" v="2510"/>
        <pc:sldMkLst>
          <pc:docMk/>
          <pc:sldMk cId="1401076497" sldId="765"/>
        </pc:sldMkLst>
        <pc:spChg chg="mod">
          <ac:chgData name="Thomas Stensitzki" userId="75cafe6b-2f2a-469b-85c4-eec3b9c972ba" providerId="ADAL" clId="{B1462F1E-0CE4-4310-BDB3-DCDEDFDFEA3A}" dt="2023-10-22T10:16:37.367" v="2509"/>
          <ac:spMkLst>
            <pc:docMk/>
            <pc:sldMk cId="1401076497" sldId="765"/>
            <ac:spMk id="2" creationId="{B3DAD3CF-B18C-D2D6-C9D9-F46AA8A47C8D}"/>
          </ac:spMkLst>
        </pc:spChg>
        <pc:spChg chg="mod">
          <ac:chgData name="Thomas Stensitzki" userId="75cafe6b-2f2a-469b-85c4-eec3b9c972ba" providerId="ADAL" clId="{B1462F1E-0CE4-4310-BDB3-DCDEDFDFEA3A}" dt="2023-10-22T10:16:47.475" v="2510"/>
          <ac:spMkLst>
            <pc:docMk/>
            <pc:sldMk cId="1401076497" sldId="765"/>
            <ac:spMk id="3" creationId="{153203AF-64BE-7B9F-F92D-FECE6C5DEC7F}"/>
          </ac:spMkLst>
        </pc:spChg>
      </pc:sldChg>
      <pc:sldChg chg="modSp new del mod">
        <pc:chgData name="Thomas Stensitzki" userId="75cafe6b-2f2a-469b-85c4-eec3b9c972ba" providerId="ADAL" clId="{B1462F1E-0CE4-4310-BDB3-DCDEDFDFEA3A}" dt="2023-10-21T14:40:42.873" v="400" actId="47"/>
        <pc:sldMkLst>
          <pc:docMk/>
          <pc:sldMk cId="1981337435" sldId="765"/>
        </pc:sldMkLst>
        <pc:spChg chg="mod">
          <ac:chgData name="Thomas Stensitzki" userId="75cafe6b-2f2a-469b-85c4-eec3b9c972ba" providerId="ADAL" clId="{B1462F1E-0CE4-4310-BDB3-DCDEDFDFEA3A}" dt="2023-08-14T15:16:59.562" v="294" actId="20577"/>
          <ac:spMkLst>
            <pc:docMk/>
            <pc:sldMk cId="1981337435" sldId="765"/>
            <ac:spMk id="2" creationId="{BCB35630-2AE4-042D-4D58-79566EC68644}"/>
          </ac:spMkLst>
        </pc:spChg>
        <pc:spChg chg="mod">
          <ac:chgData name="Thomas Stensitzki" userId="75cafe6b-2f2a-469b-85c4-eec3b9c972ba" providerId="ADAL" clId="{B1462F1E-0CE4-4310-BDB3-DCDEDFDFEA3A}" dt="2023-08-14T15:18:31.030" v="297" actId="20577"/>
          <ac:spMkLst>
            <pc:docMk/>
            <pc:sldMk cId="1981337435" sldId="765"/>
            <ac:spMk id="3" creationId="{09C8A70B-535C-8D44-5E04-C50627D6EA9E}"/>
          </ac:spMkLst>
        </pc:spChg>
      </pc:sldChg>
      <pc:sldChg chg="del">
        <pc:chgData name="Thomas Stensitzki" userId="75cafe6b-2f2a-469b-85c4-eec3b9c972ba" providerId="ADAL" clId="{B1462F1E-0CE4-4310-BDB3-DCDEDFDFEA3A}" dt="2023-08-14T14:44:30.908" v="71" actId="47"/>
        <pc:sldMkLst>
          <pc:docMk/>
          <pc:sldMk cId="4177790355" sldId="765"/>
        </pc:sldMkLst>
      </pc:sldChg>
      <pc:sldChg chg="del">
        <pc:chgData name="Thomas Stensitzki" userId="75cafe6b-2f2a-469b-85c4-eec3b9c972ba" providerId="ADAL" clId="{B1462F1E-0CE4-4310-BDB3-DCDEDFDFEA3A}" dt="2023-08-14T14:44:30.908" v="71" actId="47"/>
        <pc:sldMkLst>
          <pc:docMk/>
          <pc:sldMk cId="2406853124" sldId="766"/>
        </pc:sldMkLst>
      </pc:sldChg>
      <pc:sldChg chg="add ord">
        <pc:chgData name="Thomas Stensitzki" userId="75cafe6b-2f2a-469b-85c4-eec3b9c972ba" providerId="ADAL" clId="{B1462F1E-0CE4-4310-BDB3-DCDEDFDFEA3A}" dt="2023-10-26T09:27:40.029" v="2517"/>
        <pc:sldMkLst>
          <pc:docMk/>
          <pc:sldMk cId="3637612548" sldId="766"/>
        </pc:sldMkLst>
      </pc:sldChg>
      <pc:sldChg chg="addSp delSp modSp new del mod modClrScheme chgLayout">
        <pc:chgData name="Thomas Stensitzki" userId="75cafe6b-2f2a-469b-85c4-eec3b9c972ba" providerId="ADAL" clId="{B1462F1E-0CE4-4310-BDB3-DCDEDFDFEA3A}" dt="2023-10-21T14:40:38.874" v="398" actId="47"/>
        <pc:sldMkLst>
          <pc:docMk/>
          <pc:sldMk cId="3956272902" sldId="766"/>
        </pc:sldMkLst>
        <pc:spChg chg="del mod ord">
          <ac:chgData name="Thomas Stensitzki" userId="75cafe6b-2f2a-469b-85c4-eec3b9c972ba" providerId="ADAL" clId="{B1462F1E-0CE4-4310-BDB3-DCDEDFDFEA3A}" dt="2023-08-14T16:13:07.146" v="299" actId="700"/>
          <ac:spMkLst>
            <pc:docMk/>
            <pc:sldMk cId="3956272902" sldId="766"/>
            <ac:spMk id="2" creationId="{413011A2-2019-5663-6885-F8F5CEFB3722}"/>
          </ac:spMkLst>
        </pc:spChg>
        <pc:spChg chg="del">
          <ac:chgData name="Thomas Stensitzki" userId="75cafe6b-2f2a-469b-85c4-eec3b9c972ba" providerId="ADAL" clId="{B1462F1E-0CE4-4310-BDB3-DCDEDFDFEA3A}" dt="2023-08-14T16:13:07.146" v="299" actId="700"/>
          <ac:spMkLst>
            <pc:docMk/>
            <pc:sldMk cId="3956272902" sldId="766"/>
            <ac:spMk id="3" creationId="{4926A21D-D00B-6809-4C6D-D73BCD4C986A}"/>
          </ac:spMkLst>
        </pc:spChg>
        <pc:spChg chg="add mod ord">
          <ac:chgData name="Thomas Stensitzki" userId="75cafe6b-2f2a-469b-85c4-eec3b9c972ba" providerId="ADAL" clId="{B1462F1E-0CE4-4310-BDB3-DCDEDFDFEA3A}" dt="2023-08-14T16:13:07.146" v="299" actId="700"/>
          <ac:spMkLst>
            <pc:docMk/>
            <pc:sldMk cId="3956272902" sldId="766"/>
            <ac:spMk id="4" creationId="{083A6199-FB12-AE21-AC4D-F4F75CB53612}"/>
          </ac:spMkLst>
        </pc:spChg>
        <pc:spChg chg="add del">
          <ac:chgData name="Thomas Stensitzki" userId="75cafe6b-2f2a-469b-85c4-eec3b9c972ba" providerId="ADAL" clId="{B1462F1E-0CE4-4310-BDB3-DCDEDFDFEA3A}" dt="2023-08-14T16:13:10.201" v="301" actId="22"/>
          <ac:spMkLst>
            <pc:docMk/>
            <pc:sldMk cId="3956272902" sldId="766"/>
            <ac:spMk id="6" creationId="{FEA5EB2B-25D0-BEC1-B935-D77D07843D7D}"/>
          </ac:spMkLst>
        </pc:spChg>
        <pc:picChg chg="add mod">
          <ac:chgData name="Thomas Stensitzki" userId="75cafe6b-2f2a-469b-85c4-eec3b9c972ba" providerId="ADAL" clId="{B1462F1E-0CE4-4310-BDB3-DCDEDFDFEA3A}" dt="2023-08-14T16:13:31.176" v="305" actId="1440"/>
          <ac:picMkLst>
            <pc:docMk/>
            <pc:sldMk cId="3956272902" sldId="766"/>
            <ac:picMk id="8" creationId="{A5A81896-D298-DF9D-40D7-06F3FBA35725}"/>
          </ac:picMkLst>
        </pc:picChg>
      </pc:sldChg>
      <pc:sldChg chg="modSp add mod ord">
        <pc:chgData name="Thomas Stensitzki" userId="75cafe6b-2f2a-469b-85c4-eec3b9c972ba" providerId="ADAL" clId="{B1462F1E-0CE4-4310-BDB3-DCDEDFDFEA3A}" dt="2023-10-26T09:27:57.516" v="2528" actId="1036"/>
        <pc:sldMkLst>
          <pc:docMk/>
          <pc:sldMk cId="1072098424" sldId="767"/>
        </pc:sldMkLst>
        <pc:spChg chg="mod">
          <ac:chgData name="Thomas Stensitzki" userId="75cafe6b-2f2a-469b-85c4-eec3b9c972ba" providerId="ADAL" clId="{B1462F1E-0CE4-4310-BDB3-DCDEDFDFEA3A}" dt="2023-10-26T09:27:57.516" v="2528" actId="1036"/>
          <ac:spMkLst>
            <pc:docMk/>
            <pc:sldMk cId="1072098424" sldId="767"/>
            <ac:spMk id="2" creationId="{909DC09D-B9A6-4493-9A72-1CA7ECB1F5CA}"/>
          </ac:spMkLst>
        </pc:spChg>
      </pc:sldChg>
      <pc:sldChg chg="del">
        <pc:chgData name="Thomas Stensitzki" userId="75cafe6b-2f2a-469b-85c4-eec3b9c972ba" providerId="ADAL" clId="{B1462F1E-0CE4-4310-BDB3-DCDEDFDFEA3A}" dt="2023-08-14T14:44:30.908" v="71" actId="47"/>
        <pc:sldMkLst>
          <pc:docMk/>
          <pc:sldMk cId="2531410684" sldId="767"/>
        </pc:sldMkLst>
      </pc:sldChg>
      <pc:sldChg chg="modSp add del mod">
        <pc:chgData name="Thomas Stensitzki" userId="75cafe6b-2f2a-469b-85c4-eec3b9c972ba" providerId="ADAL" clId="{B1462F1E-0CE4-4310-BDB3-DCDEDFDFEA3A}" dt="2023-10-21T14:40:38.874" v="398" actId="47"/>
        <pc:sldMkLst>
          <pc:docMk/>
          <pc:sldMk cId="3460402903" sldId="767"/>
        </pc:sldMkLst>
        <pc:picChg chg="mod">
          <ac:chgData name="Thomas Stensitzki" userId="75cafe6b-2f2a-469b-85c4-eec3b9c972ba" providerId="ADAL" clId="{B1462F1E-0CE4-4310-BDB3-DCDEDFDFEA3A}" dt="2023-08-14T16:14:40.674" v="307" actId="14826"/>
          <ac:picMkLst>
            <pc:docMk/>
            <pc:sldMk cId="3460402903" sldId="767"/>
            <ac:picMk id="8" creationId="{A5A81896-D298-DF9D-40D7-06F3FBA35725}"/>
          </ac:picMkLst>
        </pc:picChg>
      </pc:sldChg>
      <pc:sldChg chg="del">
        <pc:chgData name="Thomas Stensitzki" userId="75cafe6b-2f2a-469b-85c4-eec3b9c972ba" providerId="ADAL" clId="{B1462F1E-0CE4-4310-BDB3-DCDEDFDFEA3A}" dt="2023-08-14T14:44:30.908" v="71" actId="47"/>
        <pc:sldMkLst>
          <pc:docMk/>
          <pc:sldMk cId="466978322" sldId="768"/>
        </pc:sldMkLst>
      </pc:sldChg>
      <pc:sldChg chg="addSp delSp new del mod">
        <pc:chgData name="Thomas Stensitzki" userId="75cafe6b-2f2a-469b-85c4-eec3b9c972ba" providerId="ADAL" clId="{B1462F1E-0CE4-4310-BDB3-DCDEDFDFEA3A}" dt="2023-10-21T14:40:38.874" v="398" actId="47"/>
        <pc:sldMkLst>
          <pc:docMk/>
          <pc:sldMk cId="2801496755" sldId="768"/>
        </pc:sldMkLst>
        <pc:picChg chg="add del">
          <ac:chgData name="Thomas Stensitzki" userId="75cafe6b-2f2a-469b-85c4-eec3b9c972ba" providerId="ADAL" clId="{B1462F1E-0CE4-4310-BDB3-DCDEDFDFEA3A}" dt="2023-08-14T16:18:06.925" v="310" actId="22"/>
          <ac:picMkLst>
            <pc:docMk/>
            <pc:sldMk cId="2801496755" sldId="768"/>
            <ac:picMk id="4" creationId="{B6A5F679-A63D-5956-DAAD-FA405B000DA5}"/>
          </ac:picMkLst>
        </pc:picChg>
        <pc:picChg chg="add">
          <ac:chgData name="Thomas Stensitzki" userId="75cafe6b-2f2a-469b-85c4-eec3b9c972ba" providerId="ADAL" clId="{B1462F1E-0CE4-4310-BDB3-DCDEDFDFEA3A}" dt="2023-08-14T16:18:14.121" v="311" actId="22"/>
          <ac:picMkLst>
            <pc:docMk/>
            <pc:sldMk cId="2801496755" sldId="768"/>
            <ac:picMk id="6" creationId="{0BA0DF4E-C805-2093-432E-5EB9E5617599}"/>
          </ac:picMkLst>
        </pc:picChg>
      </pc:sldChg>
      <pc:sldChg chg="modSp add mod ord">
        <pc:chgData name="Thomas Stensitzki" userId="75cafe6b-2f2a-469b-85c4-eec3b9c972ba" providerId="ADAL" clId="{B1462F1E-0CE4-4310-BDB3-DCDEDFDFEA3A}" dt="2023-10-26T09:28:27.130" v="2534" actId="1076"/>
        <pc:sldMkLst>
          <pc:docMk/>
          <pc:sldMk cId="3015216465" sldId="768"/>
        </pc:sldMkLst>
        <pc:spChg chg="mod">
          <ac:chgData name="Thomas Stensitzki" userId="75cafe6b-2f2a-469b-85c4-eec3b9c972ba" providerId="ADAL" clId="{B1462F1E-0CE4-4310-BDB3-DCDEDFDFEA3A}" dt="2023-10-26T09:28:27.130" v="2534" actId="1076"/>
          <ac:spMkLst>
            <pc:docMk/>
            <pc:sldMk cId="3015216465" sldId="768"/>
            <ac:spMk id="2" creationId="{909DC09D-B9A6-4493-9A72-1CA7ECB1F5CA}"/>
          </ac:spMkLst>
        </pc:spChg>
      </pc:sldChg>
      <pc:sldChg chg="addSp new del mod">
        <pc:chgData name="Thomas Stensitzki" userId="75cafe6b-2f2a-469b-85c4-eec3b9c972ba" providerId="ADAL" clId="{B1462F1E-0CE4-4310-BDB3-DCDEDFDFEA3A}" dt="2023-10-21T14:40:38.874" v="398" actId="47"/>
        <pc:sldMkLst>
          <pc:docMk/>
          <pc:sldMk cId="3299554368" sldId="769"/>
        </pc:sldMkLst>
        <pc:picChg chg="add">
          <ac:chgData name="Thomas Stensitzki" userId="75cafe6b-2f2a-469b-85c4-eec3b9c972ba" providerId="ADAL" clId="{B1462F1E-0CE4-4310-BDB3-DCDEDFDFEA3A}" dt="2023-08-14T16:22:24.393" v="313" actId="22"/>
          <ac:picMkLst>
            <pc:docMk/>
            <pc:sldMk cId="3299554368" sldId="769"/>
            <ac:picMk id="4" creationId="{140B0127-B551-80B0-2892-D5D3434F3459}"/>
          </ac:picMkLst>
        </pc:picChg>
      </pc:sldChg>
      <pc:sldChg chg="modSp add mod ord">
        <pc:chgData name="Thomas Stensitzki" userId="75cafe6b-2f2a-469b-85c4-eec3b9c972ba" providerId="ADAL" clId="{B1462F1E-0CE4-4310-BDB3-DCDEDFDFEA3A}" dt="2023-10-26T09:30:18.108" v="2538" actId="1076"/>
        <pc:sldMkLst>
          <pc:docMk/>
          <pc:sldMk cId="3341696552" sldId="769"/>
        </pc:sldMkLst>
        <pc:spChg chg="mod">
          <ac:chgData name="Thomas Stensitzki" userId="75cafe6b-2f2a-469b-85c4-eec3b9c972ba" providerId="ADAL" clId="{B1462F1E-0CE4-4310-BDB3-DCDEDFDFEA3A}" dt="2023-10-26T09:30:18.108" v="2538" actId="1076"/>
          <ac:spMkLst>
            <pc:docMk/>
            <pc:sldMk cId="3341696552" sldId="769"/>
            <ac:spMk id="2" creationId="{909DC09D-B9A6-4493-9A72-1CA7ECB1F5CA}"/>
          </ac:spMkLst>
        </pc:spChg>
      </pc:sldChg>
      <pc:sldChg chg="del">
        <pc:chgData name="Thomas Stensitzki" userId="75cafe6b-2f2a-469b-85c4-eec3b9c972ba" providerId="ADAL" clId="{B1462F1E-0CE4-4310-BDB3-DCDEDFDFEA3A}" dt="2023-08-14T14:44:30.908" v="71" actId="47"/>
        <pc:sldMkLst>
          <pc:docMk/>
          <pc:sldMk cId="3413044843" sldId="769"/>
        </pc:sldMkLst>
      </pc:sldChg>
      <pc:sldChg chg="del">
        <pc:chgData name="Thomas Stensitzki" userId="75cafe6b-2f2a-469b-85c4-eec3b9c972ba" providerId="ADAL" clId="{B1462F1E-0CE4-4310-BDB3-DCDEDFDFEA3A}" dt="2023-08-14T14:44:30.908" v="71" actId="47"/>
        <pc:sldMkLst>
          <pc:docMk/>
          <pc:sldMk cId="679298916" sldId="770"/>
        </pc:sldMkLst>
      </pc:sldChg>
      <pc:sldChg chg="modSp add mod ord">
        <pc:chgData name="Thomas Stensitzki" userId="75cafe6b-2f2a-469b-85c4-eec3b9c972ba" providerId="ADAL" clId="{B1462F1E-0CE4-4310-BDB3-DCDEDFDFEA3A}" dt="2023-10-26T09:31:02.404" v="2546" actId="1076"/>
        <pc:sldMkLst>
          <pc:docMk/>
          <pc:sldMk cId="1862083116" sldId="770"/>
        </pc:sldMkLst>
        <pc:spChg chg="mod">
          <ac:chgData name="Thomas Stensitzki" userId="75cafe6b-2f2a-469b-85c4-eec3b9c972ba" providerId="ADAL" clId="{B1462F1E-0CE4-4310-BDB3-DCDEDFDFEA3A}" dt="2023-10-26T09:31:02.404" v="2546" actId="1076"/>
          <ac:spMkLst>
            <pc:docMk/>
            <pc:sldMk cId="1862083116" sldId="770"/>
            <ac:spMk id="2" creationId="{909DC09D-B9A6-4493-9A72-1CA7ECB1F5CA}"/>
          </ac:spMkLst>
        </pc:spChg>
      </pc:sldChg>
      <pc:sldChg chg="addSp modSp new del mod">
        <pc:chgData name="Thomas Stensitzki" userId="75cafe6b-2f2a-469b-85c4-eec3b9c972ba" providerId="ADAL" clId="{B1462F1E-0CE4-4310-BDB3-DCDEDFDFEA3A}" dt="2023-10-21T14:40:38.874" v="398" actId="47"/>
        <pc:sldMkLst>
          <pc:docMk/>
          <pc:sldMk cId="1945898391" sldId="770"/>
        </pc:sldMkLst>
        <pc:picChg chg="add mod">
          <ac:chgData name="Thomas Stensitzki" userId="75cafe6b-2f2a-469b-85c4-eec3b9c972ba" providerId="ADAL" clId="{B1462F1E-0CE4-4310-BDB3-DCDEDFDFEA3A}" dt="2023-08-14T16:26:31.378" v="317" actId="1076"/>
          <ac:picMkLst>
            <pc:docMk/>
            <pc:sldMk cId="1945898391" sldId="770"/>
            <ac:picMk id="4" creationId="{664F28CA-D864-8C19-69D9-AABBDA93A566}"/>
          </ac:picMkLst>
        </pc:picChg>
      </pc:sldChg>
      <pc:sldChg chg="del">
        <pc:chgData name="Thomas Stensitzki" userId="75cafe6b-2f2a-469b-85c4-eec3b9c972ba" providerId="ADAL" clId="{B1462F1E-0CE4-4310-BDB3-DCDEDFDFEA3A}" dt="2023-08-14T14:44:30.908" v="71" actId="47"/>
        <pc:sldMkLst>
          <pc:docMk/>
          <pc:sldMk cId="1476531" sldId="771"/>
        </pc:sldMkLst>
      </pc:sldChg>
      <pc:sldChg chg="addSp modSp new del mod">
        <pc:chgData name="Thomas Stensitzki" userId="75cafe6b-2f2a-469b-85c4-eec3b9c972ba" providerId="ADAL" clId="{B1462F1E-0CE4-4310-BDB3-DCDEDFDFEA3A}" dt="2023-10-21T14:40:38.874" v="398" actId="47"/>
        <pc:sldMkLst>
          <pc:docMk/>
          <pc:sldMk cId="2085927561" sldId="771"/>
        </pc:sldMkLst>
        <pc:picChg chg="add mod">
          <ac:chgData name="Thomas Stensitzki" userId="75cafe6b-2f2a-469b-85c4-eec3b9c972ba" providerId="ADAL" clId="{B1462F1E-0CE4-4310-BDB3-DCDEDFDFEA3A}" dt="2023-08-14T16:27:56.682" v="321" actId="1076"/>
          <ac:picMkLst>
            <pc:docMk/>
            <pc:sldMk cId="2085927561" sldId="771"/>
            <ac:picMk id="4" creationId="{CF020303-0A6E-056A-3D3E-08CAB69A2633}"/>
          </ac:picMkLst>
        </pc:picChg>
      </pc:sldChg>
      <pc:sldChg chg="modSp add mod ord">
        <pc:chgData name="Thomas Stensitzki" userId="75cafe6b-2f2a-469b-85c4-eec3b9c972ba" providerId="ADAL" clId="{B1462F1E-0CE4-4310-BDB3-DCDEDFDFEA3A}" dt="2023-10-26T09:31:32.327" v="2553" actId="14100"/>
        <pc:sldMkLst>
          <pc:docMk/>
          <pc:sldMk cId="3596702180" sldId="771"/>
        </pc:sldMkLst>
        <pc:spChg chg="mod">
          <ac:chgData name="Thomas Stensitzki" userId="75cafe6b-2f2a-469b-85c4-eec3b9c972ba" providerId="ADAL" clId="{B1462F1E-0CE4-4310-BDB3-DCDEDFDFEA3A}" dt="2023-10-26T09:31:32.327" v="2553" actId="14100"/>
          <ac:spMkLst>
            <pc:docMk/>
            <pc:sldMk cId="3596702180" sldId="771"/>
            <ac:spMk id="2" creationId="{909DC09D-B9A6-4493-9A72-1CA7ECB1F5CA}"/>
          </ac:spMkLst>
        </pc:spChg>
      </pc:sldChg>
      <pc:sldChg chg="addSp modSp new del mod">
        <pc:chgData name="Thomas Stensitzki" userId="75cafe6b-2f2a-469b-85c4-eec3b9c972ba" providerId="ADAL" clId="{B1462F1E-0CE4-4310-BDB3-DCDEDFDFEA3A}" dt="2023-10-21T14:40:40.593" v="399" actId="47"/>
        <pc:sldMkLst>
          <pc:docMk/>
          <pc:sldMk cId="1916890412" sldId="772"/>
        </pc:sldMkLst>
        <pc:picChg chg="add mod">
          <ac:chgData name="Thomas Stensitzki" userId="75cafe6b-2f2a-469b-85c4-eec3b9c972ba" providerId="ADAL" clId="{B1462F1E-0CE4-4310-BDB3-DCDEDFDFEA3A}" dt="2023-08-14T16:29:38.289" v="325" actId="1076"/>
          <ac:picMkLst>
            <pc:docMk/>
            <pc:sldMk cId="1916890412" sldId="772"/>
            <ac:picMk id="4" creationId="{5EB0DF70-CC2B-1292-6FA5-87C3CDB0459D}"/>
          </ac:picMkLst>
        </pc:picChg>
      </pc:sldChg>
      <pc:sldChg chg="modSp add mod ord">
        <pc:chgData name="Thomas Stensitzki" userId="75cafe6b-2f2a-469b-85c4-eec3b9c972ba" providerId="ADAL" clId="{B1462F1E-0CE4-4310-BDB3-DCDEDFDFEA3A}" dt="2023-10-26T09:31:52.248" v="2558" actId="14100"/>
        <pc:sldMkLst>
          <pc:docMk/>
          <pc:sldMk cId="2393292893" sldId="772"/>
        </pc:sldMkLst>
        <pc:spChg chg="mod">
          <ac:chgData name="Thomas Stensitzki" userId="75cafe6b-2f2a-469b-85c4-eec3b9c972ba" providerId="ADAL" clId="{B1462F1E-0CE4-4310-BDB3-DCDEDFDFEA3A}" dt="2023-10-26T09:31:52.248" v="2558" actId="14100"/>
          <ac:spMkLst>
            <pc:docMk/>
            <pc:sldMk cId="2393292893" sldId="772"/>
            <ac:spMk id="2" creationId="{909DC09D-B9A6-4493-9A72-1CA7ECB1F5CA}"/>
          </ac:spMkLst>
        </pc:spChg>
      </pc:sldChg>
      <pc:sldChg chg="addSp modSp new del mod">
        <pc:chgData name="Thomas Stensitzki" userId="75cafe6b-2f2a-469b-85c4-eec3b9c972ba" providerId="ADAL" clId="{B1462F1E-0CE4-4310-BDB3-DCDEDFDFEA3A}" dt="2023-10-21T14:40:40.593" v="399" actId="47"/>
        <pc:sldMkLst>
          <pc:docMk/>
          <pc:sldMk cId="3206471218" sldId="773"/>
        </pc:sldMkLst>
        <pc:picChg chg="add mod">
          <ac:chgData name="Thomas Stensitzki" userId="75cafe6b-2f2a-469b-85c4-eec3b9c972ba" providerId="ADAL" clId="{B1462F1E-0CE4-4310-BDB3-DCDEDFDFEA3A}" dt="2023-08-14T16:30:44.291" v="329" actId="1076"/>
          <ac:picMkLst>
            <pc:docMk/>
            <pc:sldMk cId="3206471218" sldId="773"/>
            <ac:picMk id="4" creationId="{F1930ACF-B5BA-2382-55AF-AE20E0532D18}"/>
          </ac:picMkLst>
        </pc:picChg>
      </pc:sldChg>
      <pc:sldChg chg="modSp add mod ord">
        <pc:chgData name="Thomas Stensitzki" userId="75cafe6b-2f2a-469b-85c4-eec3b9c972ba" providerId="ADAL" clId="{B1462F1E-0CE4-4310-BDB3-DCDEDFDFEA3A}" dt="2023-10-26T09:33:05.298" v="2565" actId="14100"/>
        <pc:sldMkLst>
          <pc:docMk/>
          <pc:sldMk cId="3637642839" sldId="773"/>
        </pc:sldMkLst>
        <pc:spChg chg="mod">
          <ac:chgData name="Thomas Stensitzki" userId="75cafe6b-2f2a-469b-85c4-eec3b9c972ba" providerId="ADAL" clId="{B1462F1E-0CE4-4310-BDB3-DCDEDFDFEA3A}" dt="2023-10-26T09:33:05.298" v="2565" actId="14100"/>
          <ac:spMkLst>
            <pc:docMk/>
            <pc:sldMk cId="3637642839" sldId="773"/>
            <ac:spMk id="2" creationId="{909DC09D-B9A6-4493-9A72-1CA7ECB1F5CA}"/>
          </ac:spMkLst>
        </pc:spChg>
      </pc:sldChg>
      <pc:sldChg chg="addSp delSp modSp new mod modClrScheme chgLayout">
        <pc:chgData name="Thomas Stensitzki" userId="75cafe6b-2f2a-469b-85c4-eec3b9c972ba" providerId="ADAL" clId="{B1462F1E-0CE4-4310-BDB3-DCDEDFDFEA3A}" dt="2023-10-26T09:38:30.087" v="2582"/>
        <pc:sldMkLst>
          <pc:docMk/>
          <pc:sldMk cId="300984612" sldId="774"/>
        </pc:sldMkLst>
        <pc:spChg chg="del mod ord">
          <ac:chgData name="Thomas Stensitzki" userId="75cafe6b-2f2a-469b-85c4-eec3b9c972ba" providerId="ADAL" clId="{B1462F1E-0CE4-4310-BDB3-DCDEDFDFEA3A}" dt="2023-10-26T09:37:26.938" v="2567" actId="700"/>
          <ac:spMkLst>
            <pc:docMk/>
            <pc:sldMk cId="300984612" sldId="774"/>
            <ac:spMk id="2" creationId="{5F59B9C2-881A-DDFB-68F1-A0B13D81A24C}"/>
          </ac:spMkLst>
        </pc:spChg>
        <pc:spChg chg="del mod ord">
          <ac:chgData name="Thomas Stensitzki" userId="75cafe6b-2f2a-469b-85c4-eec3b9c972ba" providerId="ADAL" clId="{B1462F1E-0CE4-4310-BDB3-DCDEDFDFEA3A}" dt="2023-10-26T09:37:26.938" v="2567" actId="700"/>
          <ac:spMkLst>
            <pc:docMk/>
            <pc:sldMk cId="300984612" sldId="774"/>
            <ac:spMk id="3" creationId="{D12C2DF6-83E8-25A3-1F77-B4C2D3A7B9C0}"/>
          </ac:spMkLst>
        </pc:spChg>
        <pc:spChg chg="add mod ord">
          <ac:chgData name="Thomas Stensitzki" userId="75cafe6b-2f2a-469b-85c4-eec3b9c972ba" providerId="ADAL" clId="{B1462F1E-0CE4-4310-BDB3-DCDEDFDFEA3A}" dt="2023-10-26T09:37:29.348" v="2573" actId="20577"/>
          <ac:spMkLst>
            <pc:docMk/>
            <pc:sldMk cId="300984612" sldId="774"/>
            <ac:spMk id="4" creationId="{7534D53D-CBAC-847B-0F05-996F728A734C}"/>
          </ac:spMkLst>
        </pc:spChg>
        <pc:spChg chg="add mod ord">
          <ac:chgData name="Thomas Stensitzki" userId="75cafe6b-2f2a-469b-85c4-eec3b9c972ba" providerId="ADAL" clId="{B1462F1E-0CE4-4310-BDB3-DCDEDFDFEA3A}" dt="2023-10-26T09:38:30.087" v="2582"/>
          <ac:spMkLst>
            <pc:docMk/>
            <pc:sldMk cId="300984612" sldId="774"/>
            <ac:spMk id="5" creationId="{EB3EE15C-31D3-4DE1-85CD-5E2D24291A49}"/>
          </ac:spMkLst>
        </pc:spChg>
      </pc:sldChg>
      <pc:sldChg chg="addSp new del mod">
        <pc:chgData name="Thomas Stensitzki" userId="75cafe6b-2f2a-469b-85c4-eec3b9c972ba" providerId="ADAL" clId="{B1462F1E-0CE4-4310-BDB3-DCDEDFDFEA3A}" dt="2023-10-21T14:40:40.593" v="399" actId="47"/>
        <pc:sldMkLst>
          <pc:docMk/>
          <pc:sldMk cId="1625589664" sldId="774"/>
        </pc:sldMkLst>
        <pc:picChg chg="add">
          <ac:chgData name="Thomas Stensitzki" userId="75cafe6b-2f2a-469b-85c4-eec3b9c972ba" providerId="ADAL" clId="{B1462F1E-0CE4-4310-BDB3-DCDEDFDFEA3A}" dt="2023-08-14T16:31:28.240" v="331" actId="22"/>
          <ac:picMkLst>
            <pc:docMk/>
            <pc:sldMk cId="1625589664" sldId="774"/>
            <ac:picMk id="4" creationId="{A4489DB3-18F0-4E0A-2828-541BF3437148}"/>
          </ac:picMkLst>
        </pc:picChg>
      </pc:sldChg>
      <pc:sldChg chg="modSp add mod modNotesTx">
        <pc:chgData name="Thomas Stensitzki" userId="75cafe6b-2f2a-469b-85c4-eec3b9c972ba" providerId="ADAL" clId="{B1462F1E-0CE4-4310-BDB3-DCDEDFDFEA3A}" dt="2023-10-26T09:49:17.073" v="2613"/>
        <pc:sldMkLst>
          <pc:docMk/>
          <pc:sldMk cId="1215936229" sldId="775"/>
        </pc:sldMkLst>
        <pc:spChg chg="mod">
          <ac:chgData name="Thomas Stensitzki" userId="75cafe6b-2f2a-469b-85c4-eec3b9c972ba" providerId="ADAL" clId="{B1462F1E-0CE4-4310-BDB3-DCDEDFDFEA3A}" dt="2023-10-26T09:46:23.946" v="2584"/>
          <ac:spMkLst>
            <pc:docMk/>
            <pc:sldMk cId="1215936229" sldId="775"/>
            <ac:spMk id="4" creationId="{7534D53D-CBAC-847B-0F05-996F728A734C}"/>
          </ac:spMkLst>
        </pc:spChg>
        <pc:spChg chg="mod">
          <ac:chgData name="Thomas Stensitzki" userId="75cafe6b-2f2a-469b-85c4-eec3b9c972ba" providerId="ADAL" clId="{B1462F1E-0CE4-4310-BDB3-DCDEDFDFEA3A}" dt="2023-10-26T09:47:45.355" v="2610" actId="113"/>
          <ac:spMkLst>
            <pc:docMk/>
            <pc:sldMk cId="1215936229" sldId="775"/>
            <ac:spMk id="5" creationId="{EB3EE15C-31D3-4DE1-85CD-5E2D24291A49}"/>
          </ac:spMkLst>
        </pc:spChg>
      </pc:sldChg>
      <pc:sldChg chg="addSp new del mod">
        <pc:chgData name="Thomas Stensitzki" userId="75cafe6b-2f2a-469b-85c4-eec3b9c972ba" providerId="ADAL" clId="{B1462F1E-0CE4-4310-BDB3-DCDEDFDFEA3A}" dt="2023-10-21T14:40:40.593" v="399" actId="47"/>
        <pc:sldMkLst>
          <pc:docMk/>
          <pc:sldMk cId="1247548401" sldId="775"/>
        </pc:sldMkLst>
        <pc:picChg chg="add">
          <ac:chgData name="Thomas Stensitzki" userId="75cafe6b-2f2a-469b-85c4-eec3b9c972ba" providerId="ADAL" clId="{B1462F1E-0CE4-4310-BDB3-DCDEDFDFEA3A}" dt="2023-08-14T16:34:25.386" v="333" actId="22"/>
          <ac:picMkLst>
            <pc:docMk/>
            <pc:sldMk cId="1247548401" sldId="775"/>
            <ac:picMk id="4" creationId="{53F5F847-6EA6-93F9-EB67-6EA3249BC9F7}"/>
          </ac:picMkLst>
        </pc:picChg>
      </pc:sldChg>
      <pc:sldChg chg="addSp delSp modSp add mod">
        <pc:chgData name="Thomas Stensitzki" userId="75cafe6b-2f2a-469b-85c4-eec3b9c972ba" providerId="ADAL" clId="{B1462F1E-0CE4-4310-BDB3-DCDEDFDFEA3A}" dt="2023-10-26T09:55:26.846" v="2628" actId="478"/>
        <pc:sldMkLst>
          <pc:docMk/>
          <pc:sldMk cId="968451505" sldId="776"/>
        </pc:sldMkLst>
        <pc:spChg chg="add del">
          <ac:chgData name="Thomas Stensitzki" userId="75cafe6b-2f2a-469b-85c4-eec3b9c972ba" providerId="ADAL" clId="{B1462F1E-0CE4-4310-BDB3-DCDEDFDFEA3A}" dt="2023-10-26T09:54:01.498" v="2618" actId="22"/>
          <ac:spMkLst>
            <pc:docMk/>
            <pc:sldMk cId="968451505" sldId="776"/>
            <ac:spMk id="3" creationId="{89E329FB-3DE2-951E-24B9-FE7BF8FB76FF}"/>
          </ac:spMkLst>
        </pc:spChg>
        <pc:spChg chg="mod">
          <ac:chgData name="Thomas Stensitzki" userId="75cafe6b-2f2a-469b-85c4-eec3b9c972ba" providerId="ADAL" clId="{B1462F1E-0CE4-4310-BDB3-DCDEDFDFEA3A}" dt="2023-10-26T09:49:29.125" v="2615"/>
          <ac:spMkLst>
            <pc:docMk/>
            <pc:sldMk cId="968451505" sldId="776"/>
            <ac:spMk id="4" creationId="{7534D53D-CBAC-847B-0F05-996F728A734C}"/>
          </ac:spMkLst>
        </pc:spChg>
        <pc:spChg chg="del mod">
          <ac:chgData name="Thomas Stensitzki" userId="75cafe6b-2f2a-469b-85c4-eec3b9c972ba" providerId="ADAL" clId="{B1462F1E-0CE4-4310-BDB3-DCDEDFDFEA3A}" dt="2023-10-26T09:55:26.846" v="2628" actId="478"/>
          <ac:spMkLst>
            <pc:docMk/>
            <pc:sldMk cId="968451505" sldId="776"/>
            <ac:spMk id="5" creationId="{EB3EE15C-31D3-4DE1-85CD-5E2D24291A49}"/>
          </ac:spMkLst>
        </pc:spChg>
        <pc:spChg chg="add del">
          <ac:chgData name="Thomas Stensitzki" userId="75cafe6b-2f2a-469b-85c4-eec3b9c972ba" providerId="ADAL" clId="{B1462F1E-0CE4-4310-BDB3-DCDEDFDFEA3A}" dt="2023-10-26T09:54:10.263" v="2620" actId="22"/>
          <ac:spMkLst>
            <pc:docMk/>
            <pc:sldMk cId="968451505" sldId="776"/>
            <ac:spMk id="7" creationId="{E7C56540-9CDD-17FE-0064-E3DABB4F184E}"/>
          </ac:spMkLst>
        </pc:spChg>
        <pc:picChg chg="add mod">
          <ac:chgData name="Thomas Stensitzki" userId="75cafe6b-2f2a-469b-85c4-eec3b9c972ba" providerId="ADAL" clId="{B1462F1E-0CE4-4310-BDB3-DCDEDFDFEA3A}" dt="2023-10-26T09:55:24.972" v="2627" actId="1076"/>
          <ac:picMkLst>
            <pc:docMk/>
            <pc:sldMk cId="968451505" sldId="776"/>
            <ac:picMk id="9" creationId="{CE9D7C96-D56D-9727-4220-30C579E8537F}"/>
          </ac:picMkLst>
        </pc:picChg>
        <pc:picChg chg="add del mod">
          <ac:chgData name="Thomas Stensitzki" userId="75cafe6b-2f2a-469b-85c4-eec3b9c972ba" providerId="ADAL" clId="{B1462F1E-0CE4-4310-BDB3-DCDEDFDFEA3A}" dt="2023-10-26T09:55:18.191" v="2624" actId="478"/>
          <ac:picMkLst>
            <pc:docMk/>
            <pc:sldMk cId="968451505" sldId="776"/>
            <ac:picMk id="1026" creationId="{EFD29C94-4B4F-651D-773D-954AC3A9B409}"/>
          </ac:picMkLst>
        </pc:picChg>
      </pc:sldChg>
      <pc:sldChg chg="addSp delSp modSp add mod">
        <pc:chgData name="Thomas Stensitzki" userId="75cafe6b-2f2a-469b-85c4-eec3b9c972ba" providerId="ADAL" clId="{B1462F1E-0CE4-4310-BDB3-DCDEDFDFEA3A}" dt="2023-10-26T10:00:51.798" v="3041" actId="404"/>
        <pc:sldMkLst>
          <pc:docMk/>
          <pc:sldMk cId="2373903630" sldId="777"/>
        </pc:sldMkLst>
        <pc:spChg chg="add mod">
          <ac:chgData name="Thomas Stensitzki" userId="75cafe6b-2f2a-469b-85c4-eec3b9c972ba" providerId="ADAL" clId="{B1462F1E-0CE4-4310-BDB3-DCDEDFDFEA3A}" dt="2023-10-26T10:00:51.798" v="3041" actId="404"/>
          <ac:spMkLst>
            <pc:docMk/>
            <pc:sldMk cId="2373903630" sldId="777"/>
            <ac:spMk id="2" creationId="{F7DA8F79-2538-0C43-E35E-FD481A70A55B}"/>
          </ac:spMkLst>
        </pc:spChg>
        <pc:picChg chg="del">
          <ac:chgData name="Thomas Stensitzki" userId="75cafe6b-2f2a-469b-85c4-eec3b9c972ba" providerId="ADAL" clId="{B1462F1E-0CE4-4310-BDB3-DCDEDFDFEA3A}" dt="2023-10-26T09:55:43.577" v="2630" actId="478"/>
          <ac:picMkLst>
            <pc:docMk/>
            <pc:sldMk cId="2373903630" sldId="777"/>
            <ac:picMk id="9" creationId="{CE9D7C96-D56D-9727-4220-30C579E8537F}"/>
          </ac:picMkLst>
        </pc:picChg>
      </pc:sldChg>
      <pc:sldChg chg="modSp new mod modNotesTx">
        <pc:chgData name="Thomas Stensitzki" userId="75cafe6b-2f2a-469b-85c4-eec3b9c972ba" providerId="ADAL" clId="{B1462F1E-0CE4-4310-BDB3-DCDEDFDFEA3A}" dt="2023-10-26T10:03:13.752" v="3071"/>
        <pc:sldMkLst>
          <pc:docMk/>
          <pc:sldMk cId="2758939317" sldId="778"/>
        </pc:sldMkLst>
        <pc:spChg chg="mod">
          <ac:chgData name="Thomas Stensitzki" userId="75cafe6b-2f2a-469b-85c4-eec3b9c972ba" providerId="ADAL" clId="{B1462F1E-0CE4-4310-BDB3-DCDEDFDFEA3A}" dt="2023-10-26T10:01:53.919" v="3043"/>
          <ac:spMkLst>
            <pc:docMk/>
            <pc:sldMk cId="2758939317" sldId="778"/>
            <ac:spMk id="2" creationId="{188CE960-92EA-9363-AD0B-76B0D9A800A3}"/>
          </ac:spMkLst>
        </pc:spChg>
        <pc:spChg chg="mod">
          <ac:chgData name="Thomas Stensitzki" userId="75cafe6b-2f2a-469b-85c4-eec3b9c972ba" providerId="ADAL" clId="{B1462F1E-0CE4-4310-BDB3-DCDEDFDFEA3A}" dt="2023-10-26T10:02:02.335" v="3070" actId="20577"/>
          <ac:spMkLst>
            <pc:docMk/>
            <pc:sldMk cId="2758939317" sldId="778"/>
            <ac:spMk id="3" creationId="{562391BD-AE54-4F1C-879F-315F7F52F759}"/>
          </ac:spMkLst>
        </pc:spChg>
      </pc:sldChg>
      <pc:sldChg chg="modSp add mod ord">
        <pc:chgData name="Thomas Stensitzki" userId="75cafe6b-2f2a-469b-85c4-eec3b9c972ba" providerId="ADAL" clId="{B1462F1E-0CE4-4310-BDB3-DCDEDFDFEA3A}" dt="2023-10-31T11:26:00.958" v="3080" actId="14100"/>
        <pc:sldMkLst>
          <pc:docMk/>
          <pc:sldMk cId="2052217329" sldId="779"/>
        </pc:sldMkLst>
        <pc:spChg chg="mod">
          <ac:chgData name="Thomas Stensitzki" userId="75cafe6b-2f2a-469b-85c4-eec3b9c972ba" providerId="ADAL" clId="{B1462F1E-0CE4-4310-BDB3-DCDEDFDFEA3A}" dt="2023-10-31T11:26:00.958" v="3080" actId="14100"/>
          <ac:spMkLst>
            <pc:docMk/>
            <pc:sldMk cId="2052217329" sldId="779"/>
            <ac:spMk id="2" creationId="{909DC09D-B9A6-4493-9A72-1CA7ECB1F5CA}"/>
          </ac:spMkLst>
        </pc:spChg>
      </pc:sldChg>
      <pc:sldChg chg="add del">
        <pc:chgData name="Thomas Stensitzki" userId="75cafe6b-2f2a-469b-85c4-eec3b9c972ba" providerId="ADAL" clId="{B1462F1E-0CE4-4310-BDB3-DCDEDFDFEA3A}" dt="2023-10-31T11:24:54.746" v="3075"/>
        <pc:sldMkLst>
          <pc:docMk/>
          <pc:sldMk cId="2724628692" sldId="779"/>
        </pc:sldMkLst>
      </pc:sldChg>
      <pc:sldChg chg="modSp add mod ord">
        <pc:chgData name="Thomas Stensitzki" userId="75cafe6b-2f2a-469b-85c4-eec3b9c972ba" providerId="ADAL" clId="{B1462F1E-0CE4-4310-BDB3-DCDEDFDFEA3A}" dt="2023-10-31T11:26:13.065" v="3084" actId="1076"/>
        <pc:sldMkLst>
          <pc:docMk/>
          <pc:sldMk cId="456002877" sldId="780"/>
        </pc:sldMkLst>
        <pc:spChg chg="mod">
          <ac:chgData name="Thomas Stensitzki" userId="75cafe6b-2f2a-469b-85c4-eec3b9c972ba" providerId="ADAL" clId="{B1462F1E-0CE4-4310-BDB3-DCDEDFDFEA3A}" dt="2023-10-31T11:26:13.065" v="3084" actId="1076"/>
          <ac:spMkLst>
            <pc:docMk/>
            <pc:sldMk cId="456002877" sldId="780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B1462F1E-0CE4-4310-BDB3-DCDEDFDFEA3A}" dt="2023-10-31T11:26:28.276" v="3088" actId="1076"/>
        <pc:sldMkLst>
          <pc:docMk/>
          <pc:sldMk cId="1666844012" sldId="781"/>
        </pc:sldMkLst>
        <pc:spChg chg="mod">
          <ac:chgData name="Thomas Stensitzki" userId="75cafe6b-2f2a-469b-85c4-eec3b9c972ba" providerId="ADAL" clId="{B1462F1E-0CE4-4310-BDB3-DCDEDFDFEA3A}" dt="2023-10-31T11:26:28.276" v="3088" actId="1076"/>
          <ac:spMkLst>
            <pc:docMk/>
            <pc:sldMk cId="1666844012" sldId="781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B1462F1E-0CE4-4310-BDB3-DCDEDFDFEA3A}" dt="2023-10-31T11:26:43.986" v="3092" actId="1076"/>
        <pc:sldMkLst>
          <pc:docMk/>
          <pc:sldMk cId="1365151735" sldId="782"/>
        </pc:sldMkLst>
        <pc:spChg chg="mod">
          <ac:chgData name="Thomas Stensitzki" userId="75cafe6b-2f2a-469b-85c4-eec3b9c972ba" providerId="ADAL" clId="{B1462F1E-0CE4-4310-BDB3-DCDEDFDFEA3A}" dt="2023-10-31T11:26:43.986" v="3092" actId="1076"/>
          <ac:spMkLst>
            <pc:docMk/>
            <pc:sldMk cId="1365151735" sldId="782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B1462F1E-0CE4-4310-BDB3-DCDEDFDFEA3A}" dt="2023-10-31T11:26:56.766" v="3096" actId="1076"/>
        <pc:sldMkLst>
          <pc:docMk/>
          <pc:sldMk cId="2345373174" sldId="783"/>
        </pc:sldMkLst>
        <pc:spChg chg="mod">
          <ac:chgData name="Thomas Stensitzki" userId="75cafe6b-2f2a-469b-85c4-eec3b9c972ba" providerId="ADAL" clId="{B1462F1E-0CE4-4310-BDB3-DCDEDFDFEA3A}" dt="2023-10-31T11:26:56.766" v="3096" actId="1076"/>
          <ac:spMkLst>
            <pc:docMk/>
            <pc:sldMk cId="2345373174" sldId="783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B1462F1E-0CE4-4310-BDB3-DCDEDFDFEA3A}" dt="2023-10-31T11:27:10.611" v="3100" actId="1076"/>
        <pc:sldMkLst>
          <pc:docMk/>
          <pc:sldMk cId="3111584397" sldId="784"/>
        </pc:sldMkLst>
        <pc:spChg chg="mod">
          <ac:chgData name="Thomas Stensitzki" userId="75cafe6b-2f2a-469b-85c4-eec3b9c972ba" providerId="ADAL" clId="{B1462F1E-0CE4-4310-BDB3-DCDEDFDFEA3A}" dt="2023-10-31T11:27:10.611" v="3100" actId="1076"/>
          <ac:spMkLst>
            <pc:docMk/>
            <pc:sldMk cId="3111584397" sldId="784"/>
            <ac:spMk id="2" creationId="{909DC09D-B9A6-4493-9A72-1CA7ECB1F5CA}"/>
          </ac:spMkLst>
        </pc:spChg>
      </pc:sldChg>
    </pc:docChg>
  </pc:docChgLst>
  <pc:docChgLst>
    <pc:chgData name="Thomas Stensitzki" userId="75cafe6b-2f2a-469b-85c4-eec3b9c972ba" providerId="ADAL" clId="{78A7489F-5177-4675-A072-D65159DC1369}"/>
    <pc:docChg chg="undo custSel addSld delSld modSld sldOrd modSection">
      <pc:chgData name="Thomas Stensitzki" userId="75cafe6b-2f2a-469b-85c4-eec3b9c972ba" providerId="ADAL" clId="{78A7489F-5177-4675-A072-D65159DC1369}" dt="2022-08-11T17:58:41.700" v="2407" actId="20577"/>
      <pc:docMkLst>
        <pc:docMk/>
      </pc:docMkLst>
      <pc:sldChg chg="modSp mod">
        <pc:chgData name="Thomas Stensitzki" userId="75cafe6b-2f2a-469b-85c4-eec3b9c972ba" providerId="ADAL" clId="{78A7489F-5177-4675-A072-D65159DC1369}" dt="2022-08-06T13:53:42.722" v="15" actId="6549"/>
        <pc:sldMkLst>
          <pc:docMk/>
          <pc:sldMk cId="671489701" sldId="256"/>
        </pc:sldMkLst>
        <pc:spChg chg="mod">
          <ac:chgData name="Thomas Stensitzki" userId="75cafe6b-2f2a-469b-85c4-eec3b9c972ba" providerId="ADAL" clId="{78A7489F-5177-4675-A072-D65159DC1369}" dt="2022-08-06T13:53:42.722" v="15" actId="6549"/>
          <ac:spMkLst>
            <pc:docMk/>
            <pc:sldMk cId="671489701" sldId="256"/>
            <ac:spMk id="3" creationId="{CBA95633-B02D-4A15-A8B1-A38E0A70FD27}"/>
          </ac:spMkLst>
        </pc:spChg>
      </pc:sldChg>
      <pc:sldChg chg="modSp mod">
        <pc:chgData name="Thomas Stensitzki" userId="75cafe6b-2f2a-469b-85c4-eec3b9c972ba" providerId="ADAL" clId="{78A7489F-5177-4675-A072-D65159DC1369}" dt="2022-08-06T13:55:53.434" v="107" actId="14734"/>
        <pc:sldMkLst>
          <pc:docMk/>
          <pc:sldMk cId="2855324227" sldId="257"/>
        </pc:sldMkLst>
        <pc:spChg chg="mod">
          <ac:chgData name="Thomas Stensitzki" userId="75cafe6b-2f2a-469b-85c4-eec3b9c972ba" providerId="ADAL" clId="{78A7489F-5177-4675-A072-D65159DC1369}" dt="2022-08-06T13:55:35.319" v="98" actId="20577"/>
          <ac:spMkLst>
            <pc:docMk/>
            <pc:sldMk cId="2855324227" sldId="257"/>
            <ac:spMk id="5" creationId="{EE6719E1-4DB6-4D58-BA77-937CF975247C}"/>
          </ac:spMkLst>
        </pc:spChg>
        <pc:graphicFrameChg chg="mod modGraphic">
          <ac:chgData name="Thomas Stensitzki" userId="75cafe6b-2f2a-469b-85c4-eec3b9c972ba" providerId="ADAL" clId="{78A7489F-5177-4675-A072-D65159DC1369}" dt="2022-08-06T13:55:53.434" v="107" actId="14734"/>
          <ac:graphicFrameMkLst>
            <pc:docMk/>
            <pc:sldMk cId="2855324227" sldId="257"/>
            <ac:graphicFrameMk id="6" creationId="{0F955DCC-462D-431D-BBDE-26F10687D590}"/>
          </ac:graphicFrameMkLst>
        </pc:graphicFrameChg>
      </pc:sldChg>
      <pc:sldChg chg="addSp modSp mod">
        <pc:chgData name="Thomas Stensitzki" userId="75cafe6b-2f2a-469b-85c4-eec3b9c972ba" providerId="ADAL" clId="{78A7489F-5177-4675-A072-D65159DC1369}" dt="2022-08-11T17:58:41.700" v="2407" actId="20577"/>
        <pc:sldMkLst>
          <pc:docMk/>
          <pc:sldMk cId="3332792154" sldId="258"/>
        </pc:sldMkLst>
        <pc:spChg chg="mod">
          <ac:chgData name="Thomas Stensitzki" userId="75cafe6b-2f2a-469b-85c4-eec3b9c972ba" providerId="ADAL" clId="{78A7489F-5177-4675-A072-D65159DC1369}" dt="2022-08-11T17:58:41.700" v="2407" actId="20577"/>
          <ac:spMkLst>
            <pc:docMk/>
            <pc:sldMk cId="3332792154" sldId="258"/>
            <ac:spMk id="3" creationId="{3A5A44EB-7FB9-473A-8ED3-C49DDD2E65AB}"/>
          </ac:spMkLst>
        </pc:spChg>
        <pc:picChg chg="add mod">
          <ac:chgData name="Thomas Stensitzki" userId="75cafe6b-2f2a-469b-85c4-eec3b9c972ba" providerId="ADAL" clId="{78A7489F-5177-4675-A072-D65159DC1369}" dt="2022-08-06T14:12:01.417" v="321" actId="1076"/>
          <ac:picMkLst>
            <pc:docMk/>
            <pc:sldMk cId="3332792154" sldId="258"/>
            <ac:picMk id="1026" creationId="{F7C90142-B1AA-1344-2DB1-054C9B2C6BC4}"/>
          </ac:picMkLst>
        </pc:picChg>
      </pc:sldChg>
      <pc:sldChg chg="modSp mod">
        <pc:chgData name="Thomas Stensitzki" userId="75cafe6b-2f2a-469b-85c4-eec3b9c972ba" providerId="ADAL" clId="{78A7489F-5177-4675-A072-D65159DC1369}" dt="2022-08-06T13:56:08.694" v="113" actId="20577"/>
        <pc:sldMkLst>
          <pc:docMk/>
          <pc:sldMk cId="2698998357" sldId="260"/>
        </pc:sldMkLst>
        <pc:spChg chg="mod">
          <ac:chgData name="Thomas Stensitzki" userId="75cafe6b-2f2a-469b-85c4-eec3b9c972ba" providerId="ADAL" clId="{78A7489F-5177-4675-A072-D65159DC1369}" dt="2022-08-06T13:55:45.564" v="99"/>
          <ac:spMkLst>
            <pc:docMk/>
            <pc:sldMk cId="2698998357" sldId="260"/>
            <ac:spMk id="4" creationId="{F3A15CBD-C746-44A3-A4F0-4898CE2F02E6}"/>
          </ac:spMkLst>
        </pc:spChg>
        <pc:spChg chg="mod">
          <ac:chgData name="Thomas Stensitzki" userId="75cafe6b-2f2a-469b-85c4-eec3b9c972ba" providerId="ADAL" clId="{78A7489F-5177-4675-A072-D65159DC1369}" dt="2022-08-06T13:56:08.694" v="113" actId="20577"/>
          <ac:spMkLst>
            <pc:docMk/>
            <pc:sldMk cId="2698998357" sldId="260"/>
            <ac:spMk id="5" creationId="{F3459BE7-1731-4733-A912-12977C68CFD6}"/>
          </ac:spMkLst>
        </pc:spChg>
      </pc:sldChg>
      <pc:sldChg chg="modSp mod">
        <pc:chgData name="Thomas Stensitzki" userId="75cafe6b-2f2a-469b-85c4-eec3b9c972ba" providerId="ADAL" clId="{78A7489F-5177-4675-A072-D65159DC1369}" dt="2022-08-06T13:56:27.654" v="118" actId="6549"/>
        <pc:sldMkLst>
          <pc:docMk/>
          <pc:sldMk cId="4007670073" sldId="268"/>
        </pc:sldMkLst>
        <pc:spChg chg="mod">
          <ac:chgData name="Thomas Stensitzki" userId="75cafe6b-2f2a-469b-85c4-eec3b9c972ba" providerId="ADAL" clId="{78A7489F-5177-4675-A072-D65159DC1369}" dt="2022-08-06T13:56:27.654" v="118" actId="6549"/>
          <ac:spMkLst>
            <pc:docMk/>
            <pc:sldMk cId="4007670073" sldId="268"/>
            <ac:spMk id="5" creationId="{F3459BE7-1731-4733-A912-12977C68CFD6}"/>
          </ac:spMkLst>
        </pc:spChg>
      </pc:sldChg>
      <pc:sldChg chg="modSp add del mod">
        <pc:chgData name="Thomas Stensitzki" userId="75cafe6b-2f2a-469b-85c4-eec3b9c972ba" providerId="ADAL" clId="{78A7489F-5177-4675-A072-D65159DC1369}" dt="2022-08-10T10:24:46.981" v="2174" actId="5793"/>
        <pc:sldMkLst>
          <pc:docMk/>
          <pc:sldMk cId="2721051844" sldId="269"/>
        </pc:sldMkLst>
        <pc:spChg chg="mod">
          <ac:chgData name="Thomas Stensitzki" userId="75cafe6b-2f2a-469b-85c4-eec3b9c972ba" providerId="ADAL" clId="{78A7489F-5177-4675-A072-D65159DC1369}" dt="2022-08-10T10:24:46.981" v="2174" actId="5793"/>
          <ac:spMkLst>
            <pc:docMk/>
            <pc:sldMk cId="2721051844" sldId="269"/>
            <ac:spMk id="4" creationId="{D12969B4-351A-4517-A5B8-3E6AD9CDB206}"/>
          </ac:spMkLst>
        </pc:spChg>
        <pc:spChg chg="mod">
          <ac:chgData name="Thomas Stensitzki" userId="75cafe6b-2f2a-469b-85c4-eec3b9c972ba" providerId="ADAL" clId="{78A7489F-5177-4675-A072-D65159DC1369}" dt="2022-08-09T17:49:52.066" v="1632" actId="20577"/>
          <ac:spMkLst>
            <pc:docMk/>
            <pc:sldMk cId="2721051844" sldId="269"/>
            <ac:spMk id="5" creationId="{C24DACB5-1BEC-4C86-9652-BAFD8DE56FEF}"/>
          </ac:spMkLst>
        </pc:spChg>
      </pc:sldChg>
      <pc:sldChg chg="modSp mod">
        <pc:chgData name="Thomas Stensitzki" userId="75cafe6b-2f2a-469b-85c4-eec3b9c972ba" providerId="ADAL" clId="{78A7489F-5177-4675-A072-D65159DC1369}" dt="2022-08-10T10:18:15.441" v="2029" actId="14100"/>
        <pc:sldMkLst>
          <pc:docMk/>
          <pc:sldMk cId="2227487991" sldId="378"/>
        </pc:sldMkLst>
        <pc:spChg chg="mod">
          <ac:chgData name="Thomas Stensitzki" userId="75cafe6b-2f2a-469b-85c4-eec3b9c972ba" providerId="ADAL" clId="{78A7489F-5177-4675-A072-D65159DC1369}" dt="2022-08-10T10:18:15.441" v="2029" actId="14100"/>
          <ac:spMkLst>
            <pc:docMk/>
            <pc:sldMk cId="2227487991" sldId="378"/>
            <ac:spMk id="2" creationId="{909DC09D-B9A6-4493-9A72-1CA7ECB1F5CA}"/>
          </ac:spMkLst>
        </pc:spChg>
        <pc:spChg chg="mod">
          <ac:chgData name="Thomas Stensitzki" userId="75cafe6b-2f2a-469b-85c4-eec3b9c972ba" providerId="ADAL" clId="{78A7489F-5177-4675-A072-D65159DC1369}" dt="2022-08-10T10:17:17.322" v="2021" actId="14100"/>
          <ac:spMkLst>
            <pc:docMk/>
            <pc:sldMk cId="2227487991" sldId="378"/>
            <ac:spMk id="5" creationId="{C24DACB5-1BEC-4C86-9652-BAFD8DE56FEF}"/>
          </ac:spMkLst>
        </pc:spChg>
      </pc:sldChg>
      <pc:sldChg chg="add del">
        <pc:chgData name="Thomas Stensitzki" userId="75cafe6b-2f2a-469b-85c4-eec3b9c972ba" providerId="ADAL" clId="{78A7489F-5177-4675-A072-D65159DC1369}" dt="2022-08-06T13:56:56.205" v="121" actId="47"/>
        <pc:sldMkLst>
          <pc:docMk/>
          <pc:sldMk cId="2395924320" sldId="514"/>
        </pc:sldMkLst>
      </pc:sldChg>
      <pc:sldChg chg="modSp mod">
        <pc:chgData name="Thomas Stensitzki" userId="75cafe6b-2f2a-469b-85c4-eec3b9c972ba" providerId="ADAL" clId="{78A7489F-5177-4675-A072-D65159DC1369}" dt="2022-08-10T10:17:52.177" v="2027" actId="255"/>
        <pc:sldMkLst>
          <pc:docMk/>
          <pc:sldMk cId="3797754622" sldId="515"/>
        </pc:sldMkLst>
        <pc:spChg chg="mod">
          <ac:chgData name="Thomas Stensitzki" userId="75cafe6b-2f2a-469b-85c4-eec3b9c972ba" providerId="ADAL" clId="{78A7489F-5177-4675-A072-D65159DC1369}" dt="2022-08-10T10:17:52.177" v="2027" actId="255"/>
          <ac:spMkLst>
            <pc:docMk/>
            <pc:sldMk cId="3797754622" sldId="515"/>
            <ac:spMk id="5" creationId="{C24DACB5-1BEC-4C86-9652-BAFD8DE56FEF}"/>
          </ac:spMkLst>
        </pc:spChg>
      </pc:sldChg>
      <pc:sldChg chg="addSp modSp modAnim">
        <pc:chgData name="Thomas Stensitzki" userId="75cafe6b-2f2a-469b-85c4-eec3b9c972ba" providerId="ADAL" clId="{78A7489F-5177-4675-A072-D65159DC1369}" dt="2022-08-06T14:13:28.848" v="407" actId="1076"/>
        <pc:sldMkLst>
          <pc:docMk/>
          <pc:sldMk cId="2791634409" sldId="560"/>
        </pc:sldMkLst>
        <pc:spChg chg="mod">
          <ac:chgData name="Thomas Stensitzki" userId="75cafe6b-2f2a-469b-85c4-eec3b9c972ba" providerId="ADAL" clId="{78A7489F-5177-4675-A072-D65159DC1369}" dt="2022-08-06T14:12:43.790" v="404" actId="20577"/>
          <ac:spMkLst>
            <pc:docMk/>
            <pc:sldMk cId="2791634409" sldId="560"/>
            <ac:spMk id="5" creationId="{E4B561B6-C0CF-43D8-8BC7-F305B96C47C8}"/>
          </ac:spMkLst>
        </pc:spChg>
        <pc:picChg chg="add mod">
          <ac:chgData name="Thomas Stensitzki" userId="75cafe6b-2f2a-469b-85c4-eec3b9c972ba" providerId="ADAL" clId="{78A7489F-5177-4675-A072-D65159DC1369}" dt="2022-08-06T14:13:28.848" v="407" actId="1076"/>
          <ac:picMkLst>
            <pc:docMk/>
            <pc:sldMk cId="2791634409" sldId="560"/>
            <ac:picMk id="2050" creationId="{DE9DABCD-CA25-2C8D-141D-F825F843D221}"/>
          </ac:picMkLst>
        </pc:picChg>
      </pc:sldChg>
      <pc:sldChg chg="modSp mod">
        <pc:chgData name="Thomas Stensitzki" userId="75cafe6b-2f2a-469b-85c4-eec3b9c972ba" providerId="ADAL" clId="{78A7489F-5177-4675-A072-D65159DC1369}" dt="2022-08-10T10:27:52.206" v="2393" actId="20577"/>
        <pc:sldMkLst>
          <pc:docMk/>
          <pc:sldMk cId="1728515471" sldId="561"/>
        </pc:sldMkLst>
        <pc:graphicFrameChg chg="modGraphic">
          <ac:chgData name="Thomas Stensitzki" userId="75cafe6b-2f2a-469b-85c4-eec3b9c972ba" providerId="ADAL" clId="{78A7489F-5177-4675-A072-D65159DC1369}" dt="2022-08-10T10:27:52.206" v="2393" actId="20577"/>
          <ac:graphicFrameMkLst>
            <pc:docMk/>
            <pc:sldMk cId="1728515471" sldId="561"/>
            <ac:graphicFrameMk id="4" creationId="{55EDB790-67BC-42E5-B64A-5647620B8383}"/>
          </ac:graphicFrameMkLst>
        </pc:graphicFrameChg>
      </pc:sldChg>
      <pc:sldChg chg="addSp delSp modSp add del mod modAnim">
        <pc:chgData name="Thomas Stensitzki" userId="75cafe6b-2f2a-469b-85c4-eec3b9c972ba" providerId="ADAL" clId="{78A7489F-5177-4675-A072-D65159DC1369}" dt="2022-08-10T10:19:57.846" v="2055" actId="1440"/>
        <pc:sldMkLst>
          <pc:docMk/>
          <pc:sldMk cId="4104137776" sldId="567"/>
        </pc:sldMkLst>
        <pc:spChg chg="mod">
          <ac:chgData name="Thomas Stensitzki" userId="75cafe6b-2f2a-469b-85c4-eec3b9c972ba" providerId="ADAL" clId="{78A7489F-5177-4675-A072-D65159DC1369}" dt="2022-08-09T16:55:34.108" v="905"/>
          <ac:spMkLst>
            <pc:docMk/>
            <pc:sldMk cId="4104137776" sldId="567"/>
            <ac:spMk id="2" creationId="{EC46AD28-746E-4246-884F-4DAE24C62042}"/>
          </ac:spMkLst>
        </pc:spChg>
        <pc:picChg chg="add mod">
          <ac:chgData name="Thomas Stensitzki" userId="75cafe6b-2f2a-469b-85c4-eec3b9c972ba" providerId="ADAL" clId="{78A7489F-5177-4675-A072-D65159DC1369}" dt="2022-08-10T10:19:57.846" v="2055" actId="1440"/>
          <ac:picMkLst>
            <pc:docMk/>
            <pc:sldMk cId="4104137776" sldId="567"/>
            <ac:picMk id="1026" creationId="{B7F8F498-4FFF-EDA5-087D-1D4F52FA50CA}"/>
          </ac:picMkLst>
        </pc:picChg>
        <pc:picChg chg="add del mod">
          <ac:chgData name="Thomas Stensitzki" userId="75cafe6b-2f2a-469b-85c4-eec3b9c972ba" providerId="ADAL" clId="{78A7489F-5177-4675-A072-D65159DC1369}" dt="2022-08-09T16:56:24.126" v="919" actId="478"/>
          <ac:picMkLst>
            <pc:docMk/>
            <pc:sldMk cId="4104137776" sldId="567"/>
            <ac:picMk id="1028" creationId="{8B3653FD-FA04-3132-3198-3B31F53517E9}"/>
          </ac:picMkLst>
        </pc:picChg>
        <pc:picChg chg="del">
          <ac:chgData name="Thomas Stensitzki" userId="75cafe6b-2f2a-469b-85c4-eec3b9c972ba" providerId="ADAL" clId="{78A7489F-5177-4675-A072-D65159DC1369}" dt="2022-08-09T16:55:38.365" v="907" actId="478"/>
          <ac:picMkLst>
            <pc:docMk/>
            <pc:sldMk cId="4104137776" sldId="567"/>
            <ac:picMk id="6146" creationId="{BEB228D0-D6CB-482E-981C-8BBE1B427912}"/>
          </ac:picMkLst>
        </pc:picChg>
        <pc:picChg chg="del">
          <ac:chgData name="Thomas Stensitzki" userId="75cafe6b-2f2a-469b-85c4-eec3b9c972ba" providerId="ADAL" clId="{78A7489F-5177-4675-A072-D65159DC1369}" dt="2022-08-09T16:55:37.936" v="906" actId="478"/>
          <ac:picMkLst>
            <pc:docMk/>
            <pc:sldMk cId="4104137776" sldId="567"/>
            <ac:picMk id="6148" creationId="{C73D027B-CA10-4632-9BCD-2A04C1CA1660}"/>
          </ac:picMkLst>
        </pc:picChg>
      </pc:sldChg>
      <pc:sldChg chg="del">
        <pc:chgData name="Thomas Stensitzki" userId="75cafe6b-2f2a-469b-85c4-eec3b9c972ba" providerId="ADAL" clId="{78A7489F-5177-4675-A072-D65159DC1369}" dt="2022-08-06T13:56:19.231" v="114" actId="47"/>
        <pc:sldMkLst>
          <pc:docMk/>
          <pc:sldMk cId="2374589673" sldId="568"/>
        </pc:sldMkLst>
      </pc:sldChg>
      <pc:sldChg chg="mod modShow">
        <pc:chgData name="Thomas Stensitzki" userId="75cafe6b-2f2a-469b-85c4-eec3b9c972ba" providerId="ADAL" clId="{78A7489F-5177-4675-A072-D65159DC1369}" dt="2022-08-06T14:14:08.123" v="410" actId="729"/>
        <pc:sldMkLst>
          <pc:docMk/>
          <pc:sldMk cId="1051205786" sldId="607"/>
        </pc:sldMkLst>
      </pc:sldChg>
      <pc:sldChg chg="del">
        <pc:chgData name="Thomas Stensitzki" userId="75cafe6b-2f2a-469b-85c4-eec3b9c972ba" providerId="ADAL" clId="{78A7489F-5177-4675-A072-D65159DC1369}" dt="2022-08-06T13:56:19.231" v="114" actId="47"/>
        <pc:sldMkLst>
          <pc:docMk/>
          <pc:sldMk cId="1133784921" sldId="608"/>
        </pc:sldMkLst>
      </pc:sldChg>
      <pc:sldChg chg="del">
        <pc:chgData name="Thomas Stensitzki" userId="75cafe6b-2f2a-469b-85c4-eec3b9c972ba" providerId="ADAL" clId="{78A7489F-5177-4675-A072-D65159DC1369}" dt="2022-08-06T13:56:19.231" v="114" actId="47"/>
        <pc:sldMkLst>
          <pc:docMk/>
          <pc:sldMk cId="194201490" sldId="609"/>
        </pc:sldMkLst>
      </pc:sldChg>
      <pc:sldChg chg="del">
        <pc:chgData name="Thomas Stensitzki" userId="75cafe6b-2f2a-469b-85c4-eec3b9c972ba" providerId="ADAL" clId="{78A7489F-5177-4675-A072-D65159DC1369}" dt="2022-08-06T13:56:19.231" v="114" actId="47"/>
        <pc:sldMkLst>
          <pc:docMk/>
          <pc:sldMk cId="467678945" sldId="610"/>
        </pc:sldMkLst>
      </pc:sldChg>
      <pc:sldChg chg="del">
        <pc:chgData name="Thomas Stensitzki" userId="75cafe6b-2f2a-469b-85c4-eec3b9c972ba" providerId="ADAL" clId="{78A7489F-5177-4675-A072-D65159DC1369}" dt="2022-08-06T13:56:19.231" v="114" actId="47"/>
        <pc:sldMkLst>
          <pc:docMk/>
          <pc:sldMk cId="2119466313" sldId="611"/>
        </pc:sldMkLst>
      </pc:sldChg>
      <pc:sldChg chg="del">
        <pc:chgData name="Thomas Stensitzki" userId="75cafe6b-2f2a-469b-85c4-eec3b9c972ba" providerId="ADAL" clId="{78A7489F-5177-4675-A072-D65159DC1369}" dt="2022-08-06T13:56:19.231" v="114" actId="47"/>
        <pc:sldMkLst>
          <pc:docMk/>
          <pc:sldMk cId="3453821184" sldId="612"/>
        </pc:sldMkLst>
      </pc:sldChg>
      <pc:sldChg chg="del">
        <pc:chgData name="Thomas Stensitzki" userId="75cafe6b-2f2a-469b-85c4-eec3b9c972ba" providerId="ADAL" clId="{78A7489F-5177-4675-A072-D65159DC1369}" dt="2022-08-06T13:56:19.231" v="114" actId="47"/>
        <pc:sldMkLst>
          <pc:docMk/>
          <pc:sldMk cId="1137647844" sldId="613"/>
        </pc:sldMkLst>
      </pc:sldChg>
      <pc:sldChg chg="del">
        <pc:chgData name="Thomas Stensitzki" userId="75cafe6b-2f2a-469b-85c4-eec3b9c972ba" providerId="ADAL" clId="{78A7489F-5177-4675-A072-D65159DC1369}" dt="2022-08-06T13:56:19.231" v="114" actId="47"/>
        <pc:sldMkLst>
          <pc:docMk/>
          <pc:sldMk cId="1503137777" sldId="614"/>
        </pc:sldMkLst>
      </pc:sldChg>
      <pc:sldChg chg="addSp delSp modSp mod delAnim modAnim">
        <pc:chgData name="Thomas Stensitzki" userId="75cafe6b-2f2a-469b-85c4-eec3b9c972ba" providerId="ADAL" clId="{78A7489F-5177-4675-A072-D65159DC1369}" dt="2022-08-10T10:29:28.155" v="2396"/>
        <pc:sldMkLst>
          <pc:docMk/>
          <pc:sldMk cId="1055936327" sldId="615"/>
        </pc:sldMkLst>
        <pc:spChg chg="mod">
          <ac:chgData name="Thomas Stensitzki" userId="75cafe6b-2f2a-469b-85c4-eec3b9c972ba" providerId="ADAL" clId="{78A7489F-5177-4675-A072-D65159DC1369}" dt="2022-08-09T16:58:55.097" v="946"/>
          <ac:spMkLst>
            <pc:docMk/>
            <pc:sldMk cId="1055936327" sldId="615"/>
            <ac:spMk id="2" creationId="{8F0EE741-1AA9-4E98-9676-69EE83AA3E40}"/>
          </ac:spMkLst>
        </pc:spChg>
        <pc:spChg chg="del">
          <ac:chgData name="Thomas Stensitzki" userId="75cafe6b-2f2a-469b-85c4-eec3b9c972ba" providerId="ADAL" clId="{78A7489F-5177-4675-A072-D65159DC1369}" dt="2022-08-09T16:59:11.281" v="951" actId="478"/>
          <ac:spMkLst>
            <pc:docMk/>
            <pc:sldMk cId="1055936327" sldId="615"/>
            <ac:spMk id="3" creationId="{AB3DB976-C90F-4091-87CF-40163DF71AFA}"/>
          </ac:spMkLst>
        </pc:spChg>
        <pc:picChg chg="add mod">
          <ac:chgData name="Thomas Stensitzki" userId="75cafe6b-2f2a-469b-85c4-eec3b9c972ba" providerId="ADAL" clId="{78A7489F-5177-4675-A072-D65159DC1369}" dt="2022-08-10T10:19:18.529" v="2042" actId="1440"/>
          <ac:picMkLst>
            <pc:docMk/>
            <pc:sldMk cId="1055936327" sldId="615"/>
            <ac:picMk id="4" creationId="{DB26A891-FEB9-BE0E-582C-D71E578CD6EE}"/>
          </ac:picMkLst>
        </pc:picChg>
        <pc:picChg chg="del">
          <ac:chgData name="Thomas Stensitzki" userId="75cafe6b-2f2a-469b-85c4-eec3b9c972ba" providerId="ADAL" clId="{78A7489F-5177-4675-A072-D65159DC1369}" dt="2022-08-09T16:59:00.574" v="950" actId="478"/>
          <ac:picMkLst>
            <pc:docMk/>
            <pc:sldMk cId="1055936327" sldId="615"/>
            <ac:picMk id="1026" creationId="{7B51AD3F-B2C5-40C2-A1B0-148EC98E9697}"/>
          </ac:picMkLst>
        </pc:picChg>
        <pc:picChg chg="del">
          <ac:chgData name="Thomas Stensitzki" userId="75cafe6b-2f2a-469b-85c4-eec3b9c972ba" providerId="ADAL" clId="{78A7489F-5177-4675-A072-D65159DC1369}" dt="2022-08-09T16:59:00.092" v="949" actId="478"/>
          <ac:picMkLst>
            <pc:docMk/>
            <pc:sldMk cId="1055936327" sldId="615"/>
            <ac:picMk id="1028" creationId="{CE471663-B43B-4113-A916-DCC9088EAFED}"/>
          </ac:picMkLst>
        </pc:picChg>
        <pc:picChg chg="del">
          <ac:chgData name="Thomas Stensitzki" userId="75cafe6b-2f2a-469b-85c4-eec3b9c972ba" providerId="ADAL" clId="{78A7489F-5177-4675-A072-D65159DC1369}" dt="2022-08-09T16:58:58.985" v="947" actId="478"/>
          <ac:picMkLst>
            <pc:docMk/>
            <pc:sldMk cId="1055936327" sldId="615"/>
            <ac:picMk id="1030" creationId="{55623FF3-B572-4046-968C-52BEC1710B74}"/>
          </ac:picMkLst>
        </pc:picChg>
        <pc:picChg chg="del">
          <ac:chgData name="Thomas Stensitzki" userId="75cafe6b-2f2a-469b-85c4-eec3b9c972ba" providerId="ADAL" clId="{78A7489F-5177-4675-A072-D65159DC1369}" dt="2022-08-09T16:58:59.592" v="948" actId="478"/>
          <ac:picMkLst>
            <pc:docMk/>
            <pc:sldMk cId="1055936327" sldId="615"/>
            <ac:picMk id="1032" creationId="{A2A89887-1B80-4358-8DAF-1FE056BD8360}"/>
          </ac:picMkLst>
        </pc:picChg>
        <pc:picChg chg="add mod">
          <ac:chgData name="Thomas Stensitzki" userId="75cafe6b-2f2a-469b-85c4-eec3b9c972ba" providerId="ADAL" clId="{78A7489F-5177-4675-A072-D65159DC1369}" dt="2022-08-10T10:19:17.785" v="2041" actId="1440"/>
          <ac:picMkLst>
            <pc:docMk/>
            <pc:sldMk cId="1055936327" sldId="615"/>
            <ac:picMk id="4098" creationId="{44675D0D-E278-C3F3-AE57-0D44ADAD592E}"/>
          </ac:picMkLst>
        </pc:picChg>
        <pc:picChg chg="add mod">
          <ac:chgData name="Thomas Stensitzki" userId="75cafe6b-2f2a-469b-85c4-eec3b9c972ba" providerId="ADAL" clId="{78A7489F-5177-4675-A072-D65159DC1369}" dt="2022-08-10T10:19:16.810" v="2040" actId="1440"/>
          <ac:picMkLst>
            <pc:docMk/>
            <pc:sldMk cId="1055936327" sldId="615"/>
            <ac:picMk id="4100" creationId="{D0F09251-F2C4-882E-D250-6D9DD7DBD352}"/>
          </ac:picMkLst>
        </pc:picChg>
        <pc:picChg chg="add del mod">
          <ac:chgData name="Thomas Stensitzki" userId="75cafe6b-2f2a-469b-85c4-eec3b9c972ba" providerId="ADAL" clId="{78A7489F-5177-4675-A072-D65159DC1369}" dt="2022-08-09T17:02:42.290" v="981" actId="478"/>
          <ac:picMkLst>
            <pc:docMk/>
            <pc:sldMk cId="1055936327" sldId="615"/>
            <ac:picMk id="4102" creationId="{F0CDA692-00C1-65A2-667C-990CF73E4691}"/>
          </ac:picMkLst>
        </pc:picChg>
      </pc:sldChg>
      <pc:sldChg chg="del">
        <pc:chgData name="Thomas Stensitzki" userId="75cafe6b-2f2a-469b-85c4-eec3b9c972ba" providerId="ADAL" clId="{78A7489F-5177-4675-A072-D65159DC1369}" dt="2022-08-06T13:56:41.651" v="119" actId="47"/>
        <pc:sldMkLst>
          <pc:docMk/>
          <pc:sldMk cId="3478201021" sldId="616"/>
        </pc:sldMkLst>
      </pc:sldChg>
      <pc:sldChg chg="addSp delSp modSp new mod modClrScheme chgLayout">
        <pc:chgData name="Thomas Stensitzki" userId="75cafe6b-2f2a-469b-85c4-eec3b9c972ba" providerId="ADAL" clId="{78A7489F-5177-4675-A072-D65159DC1369}" dt="2022-08-07T16:38:03.051" v="901" actId="20577"/>
        <pc:sldMkLst>
          <pc:docMk/>
          <pc:sldMk cId="4105418081" sldId="616"/>
        </pc:sldMkLst>
        <pc:spChg chg="del mod ord">
          <ac:chgData name="Thomas Stensitzki" userId="75cafe6b-2f2a-469b-85c4-eec3b9c972ba" providerId="ADAL" clId="{78A7489F-5177-4675-A072-D65159DC1369}" dt="2022-08-06T14:13:54.592" v="409" actId="700"/>
          <ac:spMkLst>
            <pc:docMk/>
            <pc:sldMk cId="4105418081" sldId="616"/>
            <ac:spMk id="2" creationId="{B61306F2-F960-0AD9-310A-D814F6C403DC}"/>
          </ac:spMkLst>
        </pc:spChg>
        <pc:spChg chg="del mod ord">
          <ac:chgData name="Thomas Stensitzki" userId="75cafe6b-2f2a-469b-85c4-eec3b9c972ba" providerId="ADAL" clId="{78A7489F-5177-4675-A072-D65159DC1369}" dt="2022-08-06T14:13:54.592" v="409" actId="700"/>
          <ac:spMkLst>
            <pc:docMk/>
            <pc:sldMk cId="4105418081" sldId="616"/>
            <ac:spMk id="3" creationId="{2A094938-089E-EAA0-FB2D-0584EAF0FF8D}"/>
          </ac:spMkLst>
        </pc:spChg>
        <pc:spChg chg="add mod ord">
          <ac:chgData name="Thomas Stensitzki" userId="75cafe6b-2f2a-469b-85c4-eec3b9c972ba" providerId="ADAL" clId="{78A7489F-5177-4675-A072-D65159DC1369}" dt="2022-08-06T14:14:54.303" v="420" actId="20577"/>
          <ac:spMkLst>
            <pc:docMk/>
            <pc:sldMk cId="4105418081" sldId="616"/>
            <ac:spMk id="4" creationId="{0912CB56-E941-CC99-5A75-B3A4D6CF9E26}"/>
          </ac:spMkLst>
        </pc:spChg>
        <pc:spChg chg="add mod ord">
          <ac:chgData name="Thomas Stensitzki" userId="75cafe6b-2f2a-469b-85c4-eec3b9c972ba" providerId="ADAL" clId="{78A7489F-5177-4675-A072-D65159DC1369}" dt="2022-08-07T16:38:03.051" v="901" actId="20577"/>
          <ac:spMkLst>
            <pc:docMk/>
            <pc:sldMk cId="4105418081" sldId="616"/>
            <ac:spMk id="5" creationId="{BB4C8E7C-FA68-627B-2855-70693371E570}"/>
          </ac:spMkLst>
        </pc:spChg>
      </pc:sldChg>
      <pc:sldChg chg="modSp add del mod ord">
        <pc:chgData name="Thomas Stensitzki" userId="75cafe6b-2f2a-469b-85c4-eec3b9c972ba" providerId="ADAL" clId="{78A7489F-5177-4675-A072-D65159DC1369}" dt="2022-08-10T10:16:24.549" v="2009" actId="5793"/>
        <pc:sldMkLst>
          <pc:docMk/>
          <pc:sldMk cId="2500841606" sldId="617"/>
        </pc:sldMkLst>
        <pc:spChg chg="mod">
          <ac:chgData name="Thomas Stensitzki" userId="75cafe6b-2f2a-469b-85c4-eec3b9c972ba" providerId="ADAL" clId="{78A7489F-5177-4675-A072-D65159DC1369}" dt="2022-08-06T14:19:55.327" v="484" actId="20577"/>
          <ac:spMkLst>
            <pc:docMk/>
            <pc:sldMk cId="2500841606" sldId="617"/>
            <ac:spMk id="4" creationId="{0912CB56-E941-CC99-5A75-B3A4D6CF9E26}"/>
          </ac:spMkLst>
        </pc:spChg>
        <pc:spChg chg="mod">
          <ac:chgData name="Thomas Stensitzki" userId="75cafe6b-2f2a-469b-85c4-eec3b9c972ba" providerId="ADAL" clId="{78A7489F-5177-4675-A072-D65159DC1369}" dt="2022-08-10T10:16:24.549" v="2009" actId="5793"/>
          <ac:spMkLst>
            <pc:docMk/>
            <pc:sldMk cId="2500841606" sldId="617"/>
            <ac:spMk id="5" creationId="{BB4C8E7C-FA68-627B-2855-70693371E570}"/>
          </ac:spMkLst>
        </pc:spChg>
      </pc:sldChg>
      <pc:sldChg chg="del">
        <pc:chgData name="Thomas Stensitzki" userId="75cafe6b-2f2a-469b-85c4-eec3b9c972ba" providerId="ADAL" clId="{78A7489F-5177-4675-A072-D65159DC1369}" dt="2022-08-06T13:56:41.651" v="119" actId="47"/>
        <pc:sldMkLst>
          <pc:docMk/>
          <pc:sldMk cId="3437431207" sldId="617"/>
        </pc:sldMkLst>
      </pc:sldChg>
      <pc:sldChg chg="del">
        <pc:chgData name="Thomas Stensitzki" userId="75cafe6b-2f2a-469b-85c4-eec3b9c972ba" providerId="ADAL" clId="{78A7489F-5177-4675-A072-D65159DC1369}" dt="2022-08-06T13:56:41.651" v="119" actId="47"/>
        <pc:sldMkLst>
          <pc:docMk/>
          <pc:sldMk cId="891073797" sldId="618"/>
        </pc:sldMkLst>
      </pc:sldChg>
      <pc:sldChg chg="addSp modSp add mod">
        <pc:chgData name="Thomas Stensitzki" userId="75cafe6b-2f2a-469b-85c4-eec3b9c972ba" providerId="ADAL" clId="{78A7489F-5177-4675-A072-D65159DC1369}" dt="2022-08-07T16:28:58.860" v="878" actId="6549"/>
        <pc:sldMkLst>
          <pc:docMk/>
          <pc:sldMk cId="1322085727" sldId="618"/>
        </pc:sldMkLst>
        <pc:spChg chg="mod">
          <ac:chgData name="Thomas Stensitzki" userId="75cafe6b-2f2a-469b-85c4-eec3b9c972ba" providerId="ADAL" clId="{78A7489F-5177-4675-A072-D65159DC1369}" dt="2022-08-07T16:28:58.860" v="878" actId="6549"/>
          <ac:spMkLst>
            <pc:docMk/>
            <pc:sldMk cId="1322085727" sldId="618"/>
            <ac:spMk id="4" creationId="{0912CB56-E941-CC99-5A75-B3A4D6CF9E26}"/>
          </ac:spMkLst>
        </pc:spChg>
        <pc:spChg chg="mod">
          <ac:chgData name="Thomas Stensitzki" userId="75cafe6b-2f2a-469b-85c4-eec3b9c972ba" providerId="ADAL" clId="{78A7489F-5177-4675-A072-D65159DC1369}" dt="2022-08-06T14:32:51.136" v="747" actId="20577"/>
          <ac:spMkLst>
            <pc:docMk/>
            <pc:sldMk cId="1322085727" sldId="618"/>
            <ac:spMk id="5" creationId="{BB4C8E7C-FA68-627B-2855-70693371E570}"/>
          </ac:spMkLst>
        </pc:spChg>
        <pc:picChg chg="add mod">
          <ac:chgData name="Thomas Stensitzki" userId="75cafe6b-2f2a-469b-85c4-eec3b9c972ba" providerId="ADAL" clId="{78A7489F-5177-4675-A072-D65159DC1369}" dt="2022-08-06T14:34:42.177" v="786" actId="1440"/>
          <ac:picMkLst>
            <pc:docMk/>
            <pc:sldMk cId="1322085727" sldId="618"/>
            <ac:picMk id="3" creationId="{D5E66226-CE04-BF59-BC78-96F8499B263F}"/>
          </ac:picMkLst>
        </pc:picChg>
      </pc:sldChg>
      <pc:sldChg chg="addSp delSp modSp add mod">
        <pc:chgData name="Thomas Stensitzki" userId="75cafe6b-2f2a-469b-85c4-eec3b9c972ba" providerId="ADAL" clId="{78A7489F-5177-4675-A072-D65159DC1369}" dt="2022-08-07T16:28:55.065" v="877" actId="6549"/>
        <pc:sldMkLst>
          <pc:docMk/>
          <pc:sldMk cId="198888969" sldId="619"/>
        </pc:sldMkLst>
        <pc:spChg chg="mod">
          <ac:chgData name="Thomas Stensitzki" userId="75cafe6b-2f2a-469b-85c4-eec3b9c972ba" providerId="ADAL" clId="{78A7489F-5177-4675-A072-D65159DC1369}" dt="2022-08-07T16:28:55.065" v="877" actId="6549"/>
          <ac:spMkLst>
            <pc:docMk/>
            <pc:sldMk cId="198888969" sldId="619"/>
            <ac:spMk id="4" creationId="{0912CB56-E941-CC99-5A75-B3A4D6CF9E26}"/>
          </ac:spMkLst>
        </pc:spChg>
        <pc:spChg chg="mod">
          <ac:chgData name="Thomas Stensitzki" userId="75cafe6b-2f2a-469b-85c4-eec3b9c972ba" providerId="ADAL" clId="{78A7489F-5177-4675-A072-D65159DC1369}" dt="2022-08-06T14:33:11.673" v="780" actId="20577"/>
          <ac:spMkLst>
            <pc:docMk/>
            <pc:sldMk cId="198888969" sldId="619"/>
            <ac:spMk id="5" creationId="{BB4C8E7C-FA68-627B-2855-70693371E570}"/>
          </ac:spMkLst>
        </pc:spChg>
        <pc:picChg chg="del">
          <ac:chgData name="Thomas Stensitzki" userId="75cafe6b-2f2a-469b-85c4-eec3b9c972ba" providerId="ADAL" clId="{78A7489F-5177-4675-A072-D65159DC1369}" dt="2022-08-06T14:34:19.711" v="781" actId="478"/>
          <ac:picMkLst>
            <pc:docMk/>
            <pc:sldMk cId="198888969" sldId="619"/>
            <ac:picMk id="3" creationId="{D5E66226-CE04-BF59-BC78-96F8499B263F}"/>
          </ac:picMkLst>
        </pc:picChg>
        <pc:picChg chg="add mod">
          <ac:chgData name="Thomas Stensitzki" userId="75cafe6b-2f2a-469b-85c4-eec3b9c972ba" providerId="ADAL" clId="{78A7489F-5177-4675-A072-D65159DC1369}" dt="2022-08-06T14:34:39.108" v="785" actId="1440"/>
          <ac:picMkLst>
            <pc:docMk/>
            <pc:sldMk cId="198888969" sldId="619"/>
            <ac:picMk id="6" creationId="{BF544F03-8F48-B948-CBBE-0EE66501BD65}"/>
          </ac:picMkLst>
        </pc:picChg>
      </pc:sldChg>
      <pc:sldChg chg="add del">
        <pc:chgData name="Thomas Stensitzki" userId="75cafe6b-2f2a-469b-85c4-eec3b9c972ba" providerId="ADAL" clId="{78A7489F-5177-4675-A072-D65159DC1369}" dt="2022-08-06T14:32:56.429" v="748" actId="47"/>
        <pc:sldMkLst>
          <pc:docMk/>
          <pc:sldMk cId="1767873629" sldId="619"/>
        </pc:sldMkLst>
      </pc:sldChg>
      <pc:sldChg chg="del">
        <pc:chgData name="Thomas Stensitzki" userId="75cafe6b-2f2a-469b-85c4-eec3b9c972ba" providerId="ADAL" clId="{78A7489F-5177-4675-A072-D65159DC1369}" dt="2022-08-06T13:56:41.651" v="119" actId="47"/>
        <pc:sldMkLst>
          <pc:docMk/>
          <pc:sldMk cId="2883104128" sldId="619"/>
        </pc:sldMkLst>
      </pc:sldChg>
      <pc:sldChg chg="del">
        <pc:chgData name="Thomas Stensitzki" userId="75cafe6b-2f2a-469b-85c4-eec3b9c972ba" providerId="ADAL" clId="{78A7489F-5177-4675-A072-D65159DC1369}" dt="2022-08-06T13:56:41.651" v="119" actId="47"/>
        <pc:sldMkLst>
          <pc:docMk/>
          <pc:sldMk cId="1449374427" sldId="620"/>
        </pc:sldMkLst>
      </pc:sldChg>
      <pc:sldChg chg="addSp delSp modSp add mod">
        <pc:chgData name="Thomas Stensitzki" userId="75cafe6b-2f2a-469b-85c4-eec3b9c972ba" providerId="ADAL" clId="{78A7489F-5177-4675-A072-D65159DC1369}" dt="2022-08-07T16:31:42.476" v="883" actId="1440"/>
        <pc:sldMkLst>
          <pc:docMk/>
          <pc:sldMk cId="3201512428" sldId="620"/>
        </pc:sldMkLst>
        <pc:spChg chg="mod">
          <ac:chgData name="Thomas Stensitzki" userId="75cafe6b-2f2a-469b-85c4-eec3b9c972ba" providerId="ADAL" clId="{78A7489F-5177-4675-A072-D65159DC1369}" dt="2022-08-07T16:31:35.736" v="882" actId="20577"/>
          <ac:spMkLst>
            <pc:docMk/>
            <pc:sldMk cId="3201512428" sldId="620"/>
            <ac:spMk id="5" creationId="{BB4C8E7C-FA68-627B-2855-70693371E570}"/>
          </ac:spMkLst>
        </pc:spChg>
        <pc:picChg chg="add mod">
          <ac:chgData name="Thomas Stensitzki" userId="75cafe6b-2f2a-469b-85c4-eec3b9c972ba" providerId="ADAL" clId="{78A7489F-5177-4675-A072-D65159DC1369}" dt="2022-08-07T16:31:42.476" v="883" actId="1440"/>
          <ac:picMkLst>
            <pc:docMk/>
            <pc:sldMk cId="3201512428" sldId="620"/>
            <ac:picMk id="3" creationId="{7C3CD6DE-6A8E-3B3D-390B-25037CF2B7F9}"/>
          </ac:picMkLst>
        </pc:picChg>
        <pc:picChg chg="del">
          <ac:chgData name="Thomas Stensitzki" userId="75cafe6b-2f2a-469b-85c4-eec3b9c972ba" providerId="ADAL" clId="{78A7489F-5177-4675-A072-D65159DC1369}" dt="2022-08-06T14:34:50.944" v="788" actId="478"/>
          <ac:picMkLst>
            <pc:docMk/>
            <pc:sldMk cId="3201512428" sldId="620"/>
            <ac:picMk id="6" creationId="{BF544F03-8F48-B948-CBBE-0EE66501BD65}"/>
          </ac:picMkLst>
        </pc:picChg>
      </pc:sldChg>
      <pc:sldChg chg="addSp delSp modSp add mod">
        <pc:chgData name="Thomas Stensitzki" userId="75cafe6b-2f2a-469b-85c4-eec3b9c972ba" providerId="ADAL" clId="{78A7489F-5177-4675-A072-D65159DC1369}" dt="2022-08-07T16:33:09.346" v="898" actId="1440"/>
        <pc:sldMkLst>
          <pc:docMk/>
          <pc:sldMk cId="495201301" sldId="621"/>
        </pc:sldMkLst>
        <pc:picChg chg="del">
          <ac:chgData name="Thomas Stensitzki" userId="75cafe6b-2f2a-469b-85c4-eec3b9c972ba" providerId="ADAL" clId="{78A7489F-5177-4675-A072-D65159DC1369}" dt="2022-08-07T16:33:00.361" v="889" actId="478"/>
          <ac:picMkLst>
            <pc:docMk/>
            <pc:sldMk cId="495201301" sldId="621"/>
            <ac:picMk id="3" creationId="{7C3CD6DE-6A8E-3B3D-390B-25037CF2B7F9}"/>
          </ac:picMkLst>
        </pc:picChg>
        <pc:picChg chg="add mod">
          <ac:chgData name="Thomas Stensitzki" userId="75cafe6b-2f2a-469b-85c4-eec3b9c972ba" providerId="ADAL" clId="{78A7489F-5177-4675-A072-D65159DC1369}" dt="2022-08-07T16:33:09.346" v="898" actId="1440"/>
          <ac:picMkLst>
            <pc:docMk/>
            <pc:sldMk cId="495201301" sldId="621"/>
            <ac:picMk id="6" creationId="{54ACFD51-013F-11D3-5AC1-DD8F71C7779F}"/>
          </ac:picMkLst>
        </pc:picChg>
      </pc:sldChg>
      <pc:sldChg chg="del">
        <pc:chgData name="Thomas Stensitzki" userId="75cafe6b-2f2a-469b-85c4-eec3b9c972ba" providerId="ADAL" clId="{78A7489F-5177-4675-A072-D65159DC1369}" dt="2022-08-06T13:56:41.651" v="119" actId="47"/>
        <pc:sldMkLst>
          <pc:docMk/>
          <pc:sldMk cId="4271250423" sldId="621"/>
        </pc:sldMkLst>
      </pc:sldChg>
      <pc:sldChg chg="add del">
        <pc:chgData name="Thomas Stensitzki" userId="75cafe6b-2f2a-469b-85c4-eec3b9c972ba" providerId="ADAL" clId="{78A7489F-5177-4675-A072-D65159DC1369}" dt="2022-08-06T13:57:05.154" v="122" actId="47"/>
        <pc:sldMkLst>
          <pc:docMk/>
          <pc:sldMk cId="228228310" sldId="622"/>
        </pc:sldMkLst>
      </pc:sldChg>
      <pc:sldChg chg="delSp modSp add">
        <pc:chgData name="Thomas Stensitzki" userId="75cafe6b-2f2a-469b-85c4-eec3b9c972ba" providerId="ADAL" clId="{78A7489F-5177-4675-A072-D65159DC1369}" dt="2022-08-10T10:19:59.340" v="2056" actId="1440"/>
        <pc:sldMkLst>
          <pc:docMk/>
          <pc:sldMk cId="1216098891" sldId="622"/>
        </pc:sldMkLst>
        <pc:picChg chg="del">
          <ac:chgData name="Thomas Stensitzki" userId="75cafe6b-2f2a-469b-85c4-eec3b9c972ba" providerId="ADAL" clId="{78A7489F-5177-4675-A072-D65159DC1369}" dt="2022-08-09T16:56:31.275" v="922" actId="478"/>
          <ac:picMkLst>
            <pc:docMk/>
            <pc:sldMk cId="1216098891" sldId="622"/>
            <ac:picMk id="1026" creationId="{B7F8F498-4FFF-EDA5-087D-1D4F52FA50CA}"/>
          </ac:picMkLst>
        </pc:picChg>
        <pc:picChg chg="mod">
          <ac:chgData name="Thomas Stensitzki" userId="75cafe6b-2f2a-469b-85c4-eec3b9c972ba" providerId="ADAL" clId="{78A7489F-5177-4675-A072-D65159DC1369}" dt="2022-08-10T10:19:59.340" v="2056" actId="1440"/>
          <ac:picMkLst>
            <pc:docMk/>
            <pc:sldMk cId="1216098891" sldId="622"/>
            <ac:picMk id="1028" creationId="{8B3653FD-FA04-3132-3198-3B31F53517E9}"/>
          </ac:picMkLst>
        </pc:picChg>
      </pc:sldChg>
      <pc:sldChg chg="addSp delSp modSp add mod">
        <pc:chgData name="Thomas Stensitzki" userId="75cafe6b-2f2a-469b-85c4-eec3b9c972ba" providerId="ADAL" clId="{78A7489F-5177-4675-A072-D65159DC1369}" dt="2022-08-10T10:20:02.484" v="2057" actId="1440"/>
        <pc:sldMkLst>
          <pc:docMk/>
          <pc:sldMk cId="1625578544" sldId="623"/>
        </pc:sldMkLst>
        <pc:spChg chg="add del">
          <ac:chgData name="Thomas Stensitzki" userId="75cafe6b-2f2a-469b-85c4-eec3b9c972ba" providerId="ADAL" clId="{78A7489F-5177-4675-A072-D65159DC1369}" dt="2022-08-09T16:56:58.920" v="928" actId="22"/>
          <ac:spMkLst>
            <pc:docMk/>
            <pc:sldMk cId="1625578544" sldId="623"/>
            <ac:spMk id="5" creationId="{8FE519ED-2A82-D279-5086-58BC08BD20D8}"/>
          </ac:spMkLst>
        </pc:spChg>
        <pc:picChg chg="del">
          <ac:chgData name="Thomas Stensitzki" userId="75cafe6b-2f2a-469b-85c4-eec3b9c972ba" providerId="ADAL" clId="{78A7489F-5177-4675-A072-D65159DC1369}" dt="2022-08-09T16:57:19.050" v="933" actId="478"/>
          <ac:picMkLst>
            <pc:docMk/>
            <pc:sldMk cId="1625578544" sldId="623"/>
            <ac:picMk id="1028" creationId="{8B3653FD-FA04-3132-3198-3B31F53517E9}"/>
          </ac:picMkLst>
        </pc:picChg>
        <pc:picChg chg="add mod">
          <ac:chgData name="Thomas Stensitzki" userId="75cafe6b-2f2a-469b-85c4-eec3b9c972ba" providerId="ADAL" clId="{78A7489F-5177-4675-A072-D65159DC1369}" dt="2022-08-10T10:20:02.484" v="2057" actId="1440"/>
          <ac:picMkLst>
            <pc:docMk/>
            <pc:sldMk cId="1625578544" sldId="623"/>
            <ac:picMk id="2050" creationId="{2D3A4476-8CC1-39D0-C23D-81A4E553664C}"/>
          </ac:picMkLst>
        </pc:picChg>
      </pc:sldChg>
      <pc:sldChg chg="add del">
        <pc:chgData name="Thomas Stensitzki" userId="75cafe6b-2f2a-469b-85c4-eec3b9c972ba" providerId="ADAL" clId="{78A7489F-5177-4675-A072-D65159DC1369}" dt="2022-08-06T13:57:05.154" v="122" actId="47"/>
        <pc:sldMkLst>
          <pc:docMk/>
          <pc:sldMk cId="2858615882" sldId="623"/>
        </pc:sldMkLst>
      </pc:sldChg>
      <pc:sldChg chg="add del">
        <pc:chgData name="Thomas Stensitzki" userId="75cafe6b-2f2a-469b-85c4-eec3b9c972ba" providerId="ADAL" clId="{78A7489F-5177-4675-A072-D65159DC1369}" dt="2022-08-06T13:57:05.154" v="122" actId="47"/>
        <pc:sldMkLst>
          <pc:docMk/>
          <pc:sldMk cId="1458805602" sldId="624"/>
        </pc:sldMkLst>
      </pc:sldChg>
      <pc:sldChg chg="addSp delSp modSp add">
        <pc:chgData name="Thomas Stensitzki" userId="75cafe6b-2f2a-469b-85c4-eec3b9c972ba" providerId="ADAL" clId="{78A7489F-5177-4675-A072-D65159DC1369}" dt="2022-08-10T10:20:03.947" v="2058" actId="1440"/>
        <pc:sldMkLst>
          <pc:docMk/>
          <pc:sldMk cId="3928386235" sldId="624"/>
        </pc:sldMkLst>
        <pc:picChg chg="del">
          <ac:chgData name="Thomas Stensitzki" userId="75cafe6b-2f2a-469b-85c4-eec3b9c972ba" providerId="ADAL" clId="{78A7489F-5177-4675-A072-D65159DC1369}" dt="2022-08-09T16:57:53.939" v="941" actId="478"/>
          <ac:picMkLst>
            <pc:docMk/>
            <pc:sldMk cId="3928386235" sldId="624"/>
            <ac:picMk id="2050" creationId="{2D3A4476-8CC1-39D0-C23D-81A4E553664C}"/>
          </ac:picMkLst>
        </pc:picChg>
        <pc:picChg chg="add mod">
          <ac:chgData name="Thomas Stensitzki" userId="75cafe6b-2f2a-469b-85c4-eec3b9c972ba" providerId="ADAL" clId="{78A7489F-5177-4675-A072-D65159DC1369}" dt="2022-08-10T10:20:03.947" v="2058" actId="1440"/>
          <ac:picMkLst>
            <pc:docMk/>
            <pc:sldMk cId="3928386235" sldId="624"/>
            <ac:picMk id="3074" creationId="{767C9165-027D-6F2B-17B4-BEBB9518C685}"/>
          </ac:picMkLst>
        </pc:picChg>
      </pc:sldChg>
      <pc:sldChg chg="del">
        <pc:chgData name="Thomas Stensitzki" userId="75cafe6b-2f2a-469b-85c4-eec3b9c972ba" providerId="ADAL" clId="{78A7489F-5177-4675-A072-D65159DC1369}" dt="2022-08-06T13:56:41.651" v="119" actId="47"/>
        <pc:sldMkLst>
          <pc:docMk/>
          <pc:sldMk cId="772649472" sldId="625"/>
        </pc:sldMkLst>
      </pc:sldChg>
      <pc:sldChg chg="delSp modSp add mod">
        <pc:chgData name="Thomas Stensitzki" userId="75cafe6b-2f2a-469b-85c4-eec3b9c972ba" providerId="ADAL" clId="{78A7489F-5177-4675-A072-D65159DC1369}" dt="2022-08-10T10:19:14.279" v="2039" actId="1440"/>
        <pc:sldMkLst>
          <pc:docMk/>
          <pc:sldMk cId="2431608557" sldId="625"/>
        </pc:sldMkLst>
        <pc:picChg chg="del">
          <ac:chgData name="Thomas Stensitzki" userId="75cafe6b-2f2a-469b-85c4-eec3b9c972ba" providerId="ADAL" clId="{78A7489F-5177-4675-A072-D65159DC1369}" dt="2022-08-09T17:02:33.280" v="977" actId="478"/>
          <ac:picMkLst>
            <pc:docMk/>
            <pc:sldMk cId="2431608557" sldId="625"/>
            <ac:picMk id="4" creationId="{DB26A891-FEB9-BE0E-582C-D71E578CD6EE}"/>
          </ac:picMkLst>
        </pc:picChg>
        <pc:picChg chg="del">
          <ac:chgData name="Thomas Stensitzki" userId="75cafe6b-2f2a-469b-85c4-eec3b9c972ba" providerId="ADAL" clId="{78A7489F-5177-4675-A072-D65159DC1369}" dt="2022-08-09T17:02:33.894" v="978" actId="478"/>
          <ac:picMkLst>
            <pc:docMk/>
            <pc:sldMk cId="2431608557" sldId="625"/>
            <ac:picMk id="4098" creationId="{44675D0D-E278-C3F3-AE57-0D44ADAD592E}"/>
          </ac:picMkLst>
        </pc:picChg>
        <pc:picChg chg="del">
          <ac:chgData name="Thomas Stensitzki" userId="75cafe6b-2f2a-469b-85c4-eec3b9c972ba" providerId="ADAL" clId="{78A7489F-5177-4675-A072-D65159DC1369}" dt="2022-08-09T17:02:34.581" v="979" actId="478"/>
          <ac:picMkLst>
            <pc:docMk/>
            <pc:sldMk cId="2431608557" sldId="625"/>
            <ac:picMk id="4100" creationId="{D0F09251-F2C4-882E-D250-6D9DD7DBD352}"/>
          </ac:picMkLst>
        </pc:picChg>
        <pc:picChg chg="mod">
          <ac:chgData name="Thomas Stensitzki" userId="75cafe6b-2f2a-469b-85c4-eec3b9c972ba" providerId="ADAL" clId="{78A7489F-5177-4675-A072-D65159DC1369}" dt="2022-08-10T10:19:14.279" v="2039" actId="1440"/>
          <ac:picMkLst>
            <pc:docMk/>
            <pc:sldMk cId="2431608557" sldId="625"/>
            <ac:picMk id="4102" creationId="{F0CDA692-00C1-65A2-667C-990CF73E4691}"/>
          </ac:picMkLst>
        </pc:picChg>
      </pc:sldChg>
      <pc:sldChg chg="del">
        <pc:chgData name="Thomas Stensitzki" userId="75cafe6b-2f2a-469b-85c4-eec3b9c972ba" providerId="ADAL" clId="{78A7489F-5177-4675-A072-D65159DC1369}" dt="2022-08-06T13:56:41.651" v="119" actId="47"/>
        <pc:sldMkLst>
          <pc:docMk/>
          <pc:sldMk cId="60466671" sldId="626"/>
        </pc:sldMkLst>
      </pc:sldChg>
      <pc:sldChg chg="addSp delSp modSp add mod modNotesTx">
        <pc:chgData name="Thomas Stensitzki" userId="75cafe6b-2f2a-469b-85c4-eec3b9c972ba" providerId="ADAL" clId="{78A7489F-5177-4675-A072-D65159DC1369}" dt="2022-08-10T10:20:05.340" v="2059" actId="1440"/>
        <pc:sldMkLst>
          <pc:docMk/>
          <pc:sldMk cId="1333001301" sldId="626"/>
        </pc:sldMkLst>
        <pc:spChg chg="mod">
          <ac:chgData name="Thomas Stensitzki" userId="75cafe6b-2f2a-469b-85c4-eec3b9c972ba" providerId="ADAL" clId="{78A7489F-5177-4675-A072-D65159DC1369}" dt="2022-08-09T17:08:23.513" v="1039"/>
          <ac:spMkLst>
            <pc:docMk/>
            <pc:sldMk cId="1333001301" sldId="626"/>
            <ac:spMk id="2" creationId="{EC46AD28-746E-4246-884F-4DAE24C62042}"/>
          </ac:spMkLst>
        </pc:spChg>
        <pc:picChg chg="del">
          <ac:chgData name="Thomas Stensitzki" userId="75cafe6b-2f2a-469b-85c4-eec3b9c972ba" providerId="ADAL" clId="{78A7489F-5177-4675-A072-D65159DC1369}" dt="2022-08-09T17:08:20.425" v="1038" actId="478"/>
          <ac:picMkLst>
            <pc:docMk/>
            <pc:sldMk cId="1333001301" sldId="626"/>
            <ac:picMk id="3074" creationId="{767C9165-027D-6F2B-17B4-BEBB9518C685}"/>
          </ac:picMkLst>
        </pc:picChg>
        <pc:picChg chg="add mod">
          <ac:chgData name="Thomas Stensitzki" userId="75cafe6b-2f2a-469b-85c4-eec3b9c972ba" providerId="ADAL" clId="{78A7489F-5177-4675-A072-D65159DC1369}" dt="2022-08-10T10:20:05.340" v="2059" actId="1440"/>
          <ac:picMkLst>
            <pc:docMk/>
            <pc:sldMk cId="1333001301" sldId="626"/>
            <ac:picMk id="5122" creationId="{C3BCEB0C-B417-B7D1-9360-556B2D66400F}"/>
          </ac:picMkLst>
        </pc:picChg>
      </pc:sldChg>
      <pc:sldChg chg="add del">
        <pc:chgData name="Thomas Stensitzki" userId="75cafe6b-2f2a-469b-85c4-eec3b9c972ba" providerId="ADAL" clId="{78A7489F-5177-4675-A072-D65159DC1369}" dt="2022-08-06T13:57:05.154" v="122" actId="47"/>
        <pc:sldMkLst>
          <pc:docMk/>
          <pc:sldMk cId="851289349" sldId="627"/>
        </pc:sldMkLst>
      </pc:sldChg>
      <pc:sldChg chg="addSp delSp modSp add mod modAnim modNotesTx">
        <pc:chgData name="Thomas Stensitzki" userId="75cafe6b-2f2a-469b-85c4-eec3b9c972ba" providerId="ADAL" clId="{78A7489F-5177-4675-A072-D65159DC1369}" dt="2022-08-10T10:21:09.404" v="2078"/>
        <pc:sldMkLst>
          <pc:docMk/>
          <pc:sldMk cId="2864403089" sldId="627"/>
        </pc:sldMkLst>
        <pc:spChg chg="mod">
          <ac:chgData name="Thomas Stensitzki" userId="75cafe6b-2f2a-469b-85c4-eec3b9c972ba" providerId="ADAL" clId="{78A7489F-5177-4675-A072-D65159DC1369}" dt="2022-08-09T17:09:57.749" v="1049"/>
          <ac:spMkLst>
            <pc:docMk/>
            <pc:sldMk cId="2864403089" sldId="627"/>
            <ac:spMk id="2" creationId="{8F0EE741-1AA9-4E98-9676-69EE83AA3E40}"/>
          </ac:spMkLst>
        </pc:spChg>
        <pc:spChg chg="add del">
          <ac:chgData name="Thomas Stensitzki" userId="75cafe6b-2f2a-469b-85c4-eec3b9c972ba" providerId="ADAL" clId="{78A7489F-5177-4675-A072-D65159DC1369}" dt="2022-08-09T17:11:15.681" v="1064" actId="22"/>
          <ac:spMkLst>
            <pc:docMk/>
            <pc:sldMk cId="2864403089" sldId="627"/>
            <ac:spMk id="7" creationId="{031720FD-0C8A-A757-5BF1-FD390EFE6A4B}"/>
          </ac:spMkLst>
        </pc:spChg>
        <pc:picChg chg="del">
          <ac:chgData name="Thomas Stensitzki" userId="75cafe6b-2f2a-469b-85c4-eec3b9c972ba" providerId="ADAL" clId="{78A7489F-5177-4675-A072-D65159DC1369}" dt="2022-08-09T17:10:00.163" v="1050" actId="478"/>
          <ac:picMkLst>
            <pc:docMk/>
            <pc:sldMk cId="2864403089" sldId="627"/>
            <ac:picMk id="4102" creationId="{F0CDA692-00C1-65A2-667C-990CF73E4691}"/>
          </ac:picMkLst>
        </pc:picChg>
        <pc:picChg chg="add mod">
          <ac:chgData name="Thomas Stensitzki" userId="75cafe6b-2f2a-469b-85c4-eec3b9c972ba" providerId="ADAL" clId="{78A7489F-5177-4675-A072-D65159DC1369}" dt="2022-08-09T17:11:03.577" v="1062" actId="1076"/>
          <ac:picMkLst>
            <pc:docMk/>
            <pc:sldMk cId="2864403089" sldId="627"/>
            <ac:picMk id="6146" creationId="{B592E71D-CA5F-5ED8-D231-1890154A1049}"/>
          </ac:picMkLst>
        </pc:picChg>
        <pc:picChg chg="add mod">
          <ac:chgData name="Thomas Stensitzki" userId="75cafe6b-2f2a-469b-85c4-eec3b9c972ba" providerId="ADAL" clId="{78A7489F-5177-4675-A072-D65159DC1369}" dt="2022-08-09T17:10:59.578" v="1061" actId="1076"/>
          <ac:picMkLst>
            <pc:docMk/>
            <pc:sldMk cId="2864403089" sldId="627"/>
            <ac:picMk id="6148" creationId="{4874B0BD-8E8A-00C2-6366-83B3E04441AA}"/>
          </ac:picMkLst>
        </pc:picChg>
      </pc:sldChg>
      <pc:sldChg chg="addSp delSp modSp add mod modNotesTx">
        <pc:chgData name="Thomas Stensitzki" userId="75cafe6b-2f2a-469b-85c4-eec3b9c972ba" providerId="ADAL" clId="{78A7489F-5177-4675-A072-D65159DC1369}" dt="2022-08-10T10:20:06.740" v="2060" actId="1440"/>
        <pc:sldMkLst>
          <pc:docMk/>
          <pc:sldMk cId="2624383707" sldId="628"/>
        </pc:sldMkLst>
        <pc:spChg chg="mod">
          <ac:chgData name="Thomas Stensitzki" userId="75cafe6b-2f2a-469b-85c4-eec3b9c972ba" providerId="ADAL" clId="{78A7489F-5177-4675-A072-D65159DC1369}" dt="2022-08-09T17:11:43.815" v="1069"/>
          <ac:spMkLst>
            <pc:docMk/>
            <pc:sldMk cId="2624383707" sldId="628"/>
            <ac:spMk id="2" creationId="{EC46AD28-746E-4246-884F-4DAE24C62042}"/>
          </ac:spMkLst>
        </pc:spChg>
        <pc:picChg chg="del">
          <ac:chgData name="Thomas Stensitzki" userId="75cafe6b-2f2a-469b-85c4-eec3b9c972ba" providerId="ADAL" clId="{78A7489F-5177-4675-A072-D65159DC1369}" dt="2022-08-09T17:11:59.644" v="1070" actId="478"/>
          <ac:picMkLst>
            <pc:docMk/>
            <pc:sldMk cId="2624383707" sldId="628"/>
            <ac:picMk id="5122" creationId="{C3BCEB0C-B417-B7D1-9360-556B2D66400F}"/>
          </ac:picMkLst>
        </pc:picChg>
        <pc:picChg chg="add mod">
          <ac:chgData name="Thomas Stensitzki" userId="75cafe6b-2f2a-469b-85c4-eec3b9c972ba" providerId="ADAL" clId="{78A7489F-5177-4675-A072-D65159DC1369}" dt="2022-08-10T10:20:06.740" v="2060" actId="1440"/>
          <ac:picMkLst>
            <pc:docMk/>
            <pc:sldMk cId="2624383707" sldId="628"/>
            <ac:picMk id="7170" creationId="{8905B8A9-C7B3-F30A-D961-DC78BEC6DA73}"/>
          </ac:picMkLst>
        </pc:picChg>
      </pc:sldChg>
      <pc:sldChg chg="add del">
        <pc:chgData name="Thomas Stensitzki" userId="75cafe6b-2f2a-469b-85c4-eec3b9c972ba" providerId="ADAL" clId="{78A7489F-5177-4675-A072-D65159DC1369}" dt="2022-08-06T13:57:05.154" v="122" actId="47"/>
        <pc:sldMkLst>
          <pc:docMk/>
          <pc:sldMk cId="2662624884" sldId="628"/>
        </pc:sldMkLst>
      </pc:sldChg>
      <pc:sldChg chg="addSp delSp modSp add mod modNotesTx">
        <pc:chgData name="Thomas Stensitzki" userId="75cafe6b-2f2a-469b-85c4-eec3b9c972ba" providerId="ADAL" clId="{78A7489F-5177-4675-A072-D65159DC1369}" dt="2022-08-10T10:19:25.372" v="2043" actId="1440"/>
        <pc:sldMkLst>
          <pc:docMk/>
          <pc:sldMk cId="182847428" sldId="629"/>
        </pc:sldMkLst>
        <pc:spChg chg="mod">
          <ac:chgData name="Thomas Stensitzki" userId="75cafe6b-2f2a-469b-85c4-eec3b9c972ba" providerId="ADAL" clId="{78A7489F-5177-4675-A072-D65159DC1369}" dt="2022-08-09T17:12:46.925" v="1076"/>
          <ac:spMkLst>
            <pc:docMk/>
            <pc:sldMk cId="182847428" sldId="629"/>
            <ac:spMk id="2" creationId="{8F0EE741-1AA9-4E98-9676-69EE83AA3E40}"/>
          </ac:spMkLst>
        </pc:spChg>
        <pc:picChg chg="del">
          <ac:chgData name="Thomas Stensitzki" userId="75cafe6b-2f2a-469b-85c4-eec3b9c972ba" providerId="ADAL" clId="{78A7489F-5177-4675-A072-D65159DC1369}" dt="2022-08-09T17:12:48.377" v="1077" actId="478"/>
          <ac:picMkLst>
            <pc:docMk/>
            <pc:sldMk cId="182847428" sldId="629"/>
            <ac:picMk id="6146" creationId="{B592E71D-CA5F-5ED8-D231-1890154A1049}"/>
          </ac:picMkLst>
        </pc:picChg>
        <pc:picChg chg="del">
          <ac:chgData name="Thomas Stensitzki" userId="75cafe6b-2f2a-469b-85c4-eec3b9c972ba" providerId="ADAL" clId="{78A7489F-5177-4675-A072-D65159DC1369}" dt="2022-08-09T17:12:49.162" v="1078" actId="478"/>
          <ac:picMkLst>
            <pc:docMk/>
            <pc:sldMk cId="182847428" sldId="629"/>
            <ac:picMk id="6148" creationId="{4874B0BD-8E8A-00C2-6366-83B3E04441AA}"/>
          </ac:picMkLst>
        </pc:picChg>
        <pc:picChg chg="add mod">
          <ac:chgData name="Thomas Stensitzki" userId="75cafe6b-2f2a-469b-85c4-eec3b9c972ba" providerId="ADAL" clId="{78A7489F-5177-4675-A072-D65159DC1369}" dt="2022-08-10T10:19:25.372" v="2043" actId="1440"/>
          <ac:picMkLst>
            <pc:docMk/>
            <pc:sldMk cId="182847428" sldId="629"/>
            <ac:picMk id="8194" creationId="{EA005277-DE30-EF03-F6DE-0E65BAFBDC39}"/>
          </ac:picMkLst>
        </pc:picChg>
      </pc:sldChg>
      <pc:sldChg chg="del">
        <pc:chgData name="Thomas Stensitzki" userId="75cafe6b-2f2a-469b-85c4-eec3b9c972ba" providerId="ADAL" clId="{78A7489F-5177-4675-A072-D65159DC1369}" dt="2022-08-06T13:56:19.231" v="114" actId="47"/>
        <pc:sldMkLst>
          <pc:docMk/>
          <pc:sldMk cId="2218637555" sldId="629"/>
        </pc:sldMkLst>
      </pc:sldChg>
      <pc:sldChg chg="modSp add mod ord">
        <pc:chgData name="Thomas Stensitzki" userId="75cafe6b-2f2a-469b-85c4-eec3b9c972ba" providerId="ADAL" clId="{78A7489F-5177-4675-A072-D65159DC1369}" dt="2022-08-10T10:21:17.778" v="2082" actId="1035"/>
        <pc:sldMkLst>
          <pc:docMk/>
          <pc:sldMk cId="1125589417" sldId="630"/>
        </pc:sldMkLst>
        <pc:spChg chg="mod">
          <ac:chgData name="Thomas Stensitzki" userId="75cafe6b-2f2a-469b-85c4-eec3b9c972ba" providerId="ADAL" clId="{78A7489F-5177-4675-A072-D65159DC1369}" dt="2022-08-10T10:21:17.778" v="2082" actId="1035"/>
          <ac:spMkLst>
            <pc:docMk/>
            <pc:sldMk cId="1125589417" sldId="630"/>
            <ac:spMk id="2" creationId="{909DC09D-B9A6-4493-9A72-1CA7ECB1F5CA}"/>
          </ac:spMkLst>
        </pc:spChg>
        <pc:spChg chg="mod">
          <ac:chgData name="Thomas Stensitzki" userId="75cafe6b-2f2a-469b-85c4-eec3b9c972ba" providerId="ADAL" clId="{78A7489F-5177-4675-A072-D65159DC1369}" dt="2022-08-10T10:17:43.183" v="2025" actId="255"/>
          <ac:spMkLst>
            <pc:docMk/>
            <pc:sldMk cId="1125589417" sldId="630"/>
            <ac:spMk id="5" creationId="{C24DACB5-1BEC-4C86-9652-BAFD8DE56FEF}"/>
          </ac:spMkLst>
        </pc:spChg>
      </pc:sldChg>
      <pc:sldChg chg="del">
        <pc:chgData name="Thomas Stensitzki" userId="75cafe6b-2f2a-469b-85c4-eec3b9c972ba" providerId="ADAL" clId="{78A7489F-5177-4675-A072-D65159DC1369}" dt="2022-08-06T13:56:19.231" v="114" actId="47"/>
        <pc:sldMkLst>
          <pc:docMk/>
          <pc:sldMk cId="3271888249" sldId="630"/>
        </pc:sldMkLst>
      </pc:sldChg>
      <pc:sldChg chg="addSp delSp modSp add mod ord">
        <pc:chgData name="Thomas Stensitzki" userId="75cafe6b-2f2a-469b-85c4-eec3b9c972ba" providerId="ADAL" clId="{78A7489F-5177-4675-A072-D65159DC1369}" dt="2022-08-10T10:19:29.356" v="2044" actId="1440"/>
        <pc:sldMkLst>
          <pc:docMk/>
          <pc:sldMk cId="1294991851" sldId="631"/>
        </pc:sldMkLst>
        <pc:spChg chg="mod">
          <ac:chgData name="Thomas Stensitzki" userId="75cafe6b-2f2a-469b-85c4-eec3b9c972ba" providerId="ADAL" clId="{78A7489F-5177-4675-A072-D65159DC1369}" dt="2022-08-09T17:16:51.231" v="1144" actId="255"/>
          <ac:spMkLst>
            <pc:docMk/>
            <pc:sldMk cId="1294991851" sldId="631"/>
            <ac:spMk id="2" creationId="{8F0EE741-1AA9-4E98-9676-69EE83AA3E40}"/>
          </ac:spMkLst>
        </pc:spChg>
        <pc:picChg chg="del">
          <ac:chgData name="Thomas Stensitzki" userId="75cafe6b-2f2a-469b-85c4-eec3b9c972ba" providerId="ADAL" clId="{78A7489F-5177-4675-A072-D65159DC1369}" dt="2022-08-09T17:15:47.848" v="1118" actId="478"/>
          <ac:picMkLst>
            <pc:docMk/>
            <pc:sldMk cId="1294991851" sldId="631"/>
            <ac:picMk id="8194" creationId="{EA005277-DE30-EF03-F6DE-0E65BAFBDC39}"/>
          </ac:picMkLst>
        </pc:picChg>
        <pc:picChg chg="add mod">
          <ac:chgData name="Thomas Stensitzki" userId="75cafe6b-2f2a-469b-85c4-eec3b9c972ba" providerId="ADAL" clId="{78A7489F-5177-4675-A072-D65159DC1369}" dt="2022-08-10T10:19:29.356" v="2044" actId="1440"/>
          <ac:picMkLst>
            <pc:docMk/>
            <pc:sldMk cId="1294991851" sldId="631"/>
            <ac:picMk id="9218" creationId="{488761A5-3656-248B-4A95-CEAD5BD3DE14}"/>
          </ac:picMkLst>
        </pc:picChg>
      </pc:sldChg>
      <pc:sldChg chg="del">
        <pc:chgData name="Thomas Stensitzki" userId="75cafe6b-2f2a-469b-85c4-eec3b9c972ba" providerId="ADAL" clId="{78A7489F-5177-4675-A072-D65159DC1369}" dt="2022-08-06T13:56:19.231" v="114" actId="47"/>
        <pc:sldMkLst>
          <pc:docMk/>
          <pc:sldMk cId="2569360966" sldId="631"/>
        </pc:sldMkLst>
      </pc:sldChg>
      <pc:sldChg chg="addSp delSp modSp add mod modNotesTx">
        <pc:chgData name="Thomas Stensitzki" userId="75cafe6b-2f2a-469b-85c4-eec3b9c972ba" providerId="ADAL" clId="{78A7489F-5177-4675-A072-D65159DC1369}" dt="2022-08-10T10:20:09.447" v="2062" actId="1440"/>
        <pc:sldMkLst>
          <pc:docMk/>
          <pc:sldMk cId="74767398" sldId="632"/>
        </pc:sldMkLst>
        <pc:spChg chg="mod">
          <ac:chgData name="Thomas Stensitzki" userId="75cafe6b-2f2a-469b-85c4-eec3b9c972ba" providerId="ADAL" clId="{78A7489F-5177-4675-A072-D65159DC1369}" dt="2022-08-09T17:18:01.768" v="1154" actId="14100"/>
          <ac:spMkLst>
            <pc:docMk/>
            <pc:sldMk cId="74767398" sldId="632"/>
            <ac:spMk id="2" creationId="{EC46AD28-746E-4246-884F-4DAE24C62042}"/>
          </ac:spMkLst>
        </pc:spChg>
        <pc:picChg chg="del">
          <ac:chgData name="Thomas Stensitzki" userId="75cafe6b-2f2a-469b-85c4-eec3b9c972ba" providerId="ADAL" clId="{78A7489F-5177-4675-A072-D65159DC1369}" dt="2022-08-09T17:17:41.659" v="1148" actId="478"/>
          <ac:picMkLst>
            <pc:docMk/>
            <pc:sldMk cId="74767398" sldId="632"/>
            <ac:picMk id="7170" creationId="{8905B8A9-C7B3-F30A-D961-DC78BEC6DA73}"/>
          </ac:picMkLst>
        </pc:picChg>
        <pc:picChg chg="add mod">
          <ac:chgData name="Thomas Stensitzki" userId="75cafe6b-2f2a-469b-85c4-eec3b9c972ba" providerId="ADAL" clId="{78A7489F-5177-4675-A072-D65159DC1369}" dt="2022-08-10T10:20:08.888" v="2061" actId="1440"/>
          <ac:picMkLst>
            <pc:docMk/>
            <pc:sldMk cId="74767398" sldId="632"/>
            <ac:picMk id="10242" creationId="{20964371-AAE5-AF4E-C9C4-C4AE3DD3AFDF}"/>
          </ac:picMkLst>
        </pc:picChg>
        <pc:picChg chg="add mod">
          <ac:chgData name="Thomas Stensitzki" userId="75cafe6b-2f2a-469b-85c4-eec3b9c972ba" providerId="ADAL" clId="{78A7489F-5177-4675-A072-D65159DC1369}" dt="2022-08-10T10:20:09.447" v="2062" actId="1440"/>
          <ac:picMkLst>
            <pc:docMk/>
            <pc:sldMk cId="74767398" sldId="632"/>
            <ac:picMk id="10244" creationId="{0C5F9F00-8DE3-1048-2F7D-E0D78CA6B8FF}"/>
          </ac:picMkLst>
        </pc:picChg>
      </pc:sldChg>
      <pc:sldChg chg="del">
        <pc:chgData name="Thomas Stensitzki" userId="75cafe6b-2f2a-469b-85c4-eec3b9c972ba" providerId="ADAL" clId="{78A7489F-5177-4675-A072-D65159DC1369}" dt="2022-08-06T13:56:19.231" v="114" actId="47"/>
        <pc:sldMkLst>
          <pc:docMk/>
          <pc:sldMk cId="3289523661" sldId="632"/>
        </pc:sldMkLst>
      </pc:sldChg>
      <pc:sldChg chg="modSp new mod">
        <pc:chgData name="Thomas Stensitzki" userId="75cafe6b-2f2a-469b-85c4-eec3b9c972ba" providerId="ADAL" clId="{78A7489F-5177-4675-A072-D65159DC1369}" dt="2022-08-09T17:23:32.823" v="1327" actId="113"/>
        <pc:sldMkLst>
          <pc:docMk/>
          <pc:sldMk cId="222009446" sldId="633"/>
        </pc:sldMkLst>
        <pc:spChg chg="mod">
          <ac:chgData name="Thomas Stensitzki" userId="75cafe6b-2f2a-469b-85c4-eec3b9c972ba" providerId="ADAL" clId="{78A7489F-5177-4675-A072-D65159DC1369}" dt="2022-08-09T17:20:38.186" v="1172"/>
          <ac:spMkLst>
            <pc:docMk/>
            <pc:sldMk cId="222009446" sldId="633"/>
            <ac:spMk id="2" creationId="{3F6EC6BF-398B-0BFB-5F96-5F1AB56F0DFB}"/>
          </ac:spMkLst>
        </pc:spChg>
        <pc:spChg chg="mod">
          <ac:chgData name="Thomas Stensitzki" userId="75cafe6b-2f2a-469b-85c4-eec3b9c972ba" providerId="ADAL" clId="{78A7489F-5177-4675-A072-D65159DC1369}" dt="2022-08-09T17:23:32.823" v="1327" actId="113"/>
          <ac:spMkLst>
            <pc:docMk/>
            <pc:sldMk cId="222009446" sldId="633"/>
            <ac:spMk id="3" creationId="{B725E479-FBDE-7AEB-E785-70720672DCA2}"/>
          </ac:spMkLst>
        </pc:spChg>
      </pc:sldChg>
      <pc:sldChg chg="del">
        <pc:chgData name="Thomas Stensitzki" userId="75cafe6b-2f2a-469b-85c4-eec3b9c972ba" providerId="ADAL" clId="{78A7489F-5177-4675-A072-D65159DC1369}" dt="2022-08-06T13:56:19.231" v="114" actId="47"/>
        <pc:sldMkLst>
          <pc:docMk/>
          <pc:sldMk cId="561515482" sldId="633"/>
        </pc:sldMkLst>
      </pc:sldChg>
      <pc:sldChg chg="addSp modSp new mod">
        <pc:chgData name="Thomas Stensitzki" userId="75cafe6b-2f2a-469b-85c4-eec3b9c972ba" providerId="ADAL" clId="{78A7489F-5177-4675-A072-D65159DC1369}" dt="2022-08-10T10:19:30.987" v="2045" actId="1440"/>
        <pc:sldMkLst>
          <pc:docMk/>
          <pc:sldMk cId="641717594" sldId="634"/>
        </pc:sldMkLst>
        <pc:spChg chg="mod">
          <ac:chgData name="Thomas Stensitzki" userId="75cafe6b-2f2a-469b-85c4-eec3b9c972ba" providerId="ADAL" clId="{78A7489F-5177-4675-A072-D65159DC1369}" dt="2022-08-09T17:24:49.916" v="1353"/>
          <ac:spMkLst>
            <pc:docMk/>
            <pc:sldMk cId="641717594" sldId="634"/>
            <ac:spMk id="2" creationId="{8887BDC2-3D24-92F5-3433-69A8D465BA49}"/>
          </ac:spMkLst>
        </pc:spChg>
        <pc:picChg chg="add mod">
          <ac:chgData name="Thomas Stensitzki" userId="75cafe6b-2f2a-469b-85c4-eec3b9c972ba" providerId="ADAL" clId="{78A7489F-5177-4675-A072-D65159DC1369}" dt="2022-08-10T10:19:30.987" v="2045" actId="1440"/>
          <ac:picMkLst>
            <pc:docMk/>
            <pc:sldMk cId="641717594" sldId="634"/>
            <ac:picMk id="11266" creationId="{4857E005-630C-AFC7-B610-09E4B6FD92F8}"/>
          </ac:picMkLst>
        </pc:picChg>
      </pc:sldChg>
      <pc:sldChg chg="del">
        <pc:chgData name="Thomas Stensitzki" userId="75cafe6b-2f2a-469b-85c4-eec3b9c972ba" providerId="ADAL" clId="{78A7489F-5177-4675-A072-D65159DC1369}" dt="2022-08-06T13:56:19.231" v="114" actId="47"/>
        <pc:sldMkLst>
          <pc:docMk/>
          <pc:sldMk cId="708263922" sldId="634"/>
        </pc:sldMkLst>
      </pc:sldChg>
      <pc:sldChg chg="addSp delSp modSp new mod">
        <pc:chgData name="Thomas Stensitzki" userId="75cafe6b-2f2a-469b-85c4-eec3b9c972ba" providerId="ADAL" clId="{78A7489F-5177-4675-A072-D65159DC1369}" dt="2022-08-10T10:20:12.625" v="2063" actId="1440"/>
        <pc:sldMkLst>
          <pc:docMk/>
          <pc:sldMk cId="1631157761" sldId="635"/>
        </pc:sldMkLst>
        <pc:spChg chg="mod">
          <ac:chgData name="Thomas Stensitzki" userId="75cafe6b-2f2a-469b-85c4-eec3b9c972ba" providerId="ADAL" clId="{78A7489F-5177-4675-A072-D65159DC1369}" dt="2022-08-09T17:27:26.605" v="1386"/>
          <ac:spMkLst>
            <pc:docMk/>
            <pc:sldMk cId="1631157761" sldId="635"/>
            <ac:spMk id="2" creationId="{7B9CA038-772E-31AF-6878-23EE25451115}"/>
          </ac:spMkLst>
        </pc:spChg>
        <pc:spChg chg="del">
          <ac:chgData name="Thomas Stensitzki" userId="75cafe6b-2f2a-469b-85c4-eec3b9c972ba" providerId="ADAL" clId="{78A7489F-5177-4675-A072-D65159DC1369}" dt="2022-08-09T17:28:03.617" v="1409" actId="478"/>
          <ac:spMkLst>
            <pc:docMk/>
            <pc:sldMk cId="1631157761" sldId="635"/>
            <ac:spMk id="3" creationId="{0607B977-DC86-A5C7-C79C-0B001F476415}"/>
          </ac:spMkLst>
        </pc:spChg>
        <pc:spChg chg="add del">
          <ac:chgData name="Thomas Stensitzki" userId="75cafe6b-2f2a-469b-85c4-eec3b9c972ba" providerId="ADAL" clId="{78A7489F-5177-4675-A072-D65159DC1369}" dt="2022-08-09T17:28:08.310" v="1411" actId="22"/>
          <ac:spMkLst>
            <pc:docMk/>
            <pc:sldMk cId="1631157761" sldId="635"/>
            <ac:spMk id="5" creationId="{ADE0440A-9C1B-8A73-BEF8-C544E84FD685}"/>
          </ac:spMkLst>
        </pc:spChg>
        <pc:picChg chg="add mod">
          <ac:chgData name="Thomas Stensitzki" userId="75cafe6b-2f2a-469b-85c4-eec3b9c972ba" providerId="ADAL" clId="{78A7489F-5177-4675-A072-D65159DC1369}" dt="2022-08-10T10:20:12.625" v="2063" actId="1440"/>
          <ac:picMkLst>
            <pc:docMk/>
            <pc:sldMk cId="1631157761" sldId="635"/>
            <ac:picMk id="6" creationId="{8422AC68-EFD8-AEC7-F85C-C3CFB82369E2}"/>
          </ac:picMkLst>
        </pc:picChg>
      </pc:sldChg>
      <pc:sldChg chg="del">
        <pc:chgData name="Thomas Stensitzki" userId="75cafe6b-2f2a-469b-85c4-eec3b9c972ba" providerId="ADAL" clId="{78A7489F-5177-4675-A072-D65159DC1369}" dt="2022-08-06T13:56:19.231" v="114" actId="47"/>
        <pc:sldMkLst>
          <pc:docMk/>
          <pc:sldMk cId="1915675541" sldId="635"/>
        </pc:sldMkLst>
      </pc:sldChg>
      <pc:sldChg chg="del">
        <pc:chgData name="Thomas Stensitzki" userId="75cafe6b-2f2a-469b-85c4-eec3b9c972ba" providerId="ADAL" clId="{78A7489F-5177-4675-A072-D65159DC1369}" dt="2022-08-06T13:56:41.651" v="119" actId="47"/>
        <pc:sldMkLst>
          <pc:docMk/>
          <pc:sldMk cId="162606529" sldId="636"/>
        </pc:sldMkLst>
      </pc:sldChg>
      <pc:sldChg chg="addSp delSp modSp add mod">
        <pc:chgData name="Thomas Stensitzki" userId="75cafe6b-2f2a-469b-85c4-eec3b9c972ba" providerId="ADAL" clId="{78A7489F-5177-4675-A072-D65159DC1369}" dt="2022-08-10T10:20:14.234" v="2064" actId="1440"/>
        <pc:sldMkLst>
          <pc:docMk/>
          <pc:sldMk cId="2329644470" sldId="636"/>
        </pc:sldMkLst>
        <pc:picChg chg="del">
          <ac:chgData name="Thomas Stensitzki" userId="75cafe6b-2f2a-469b-85c4-eec3b9c972ba" providerId="ADAL" clId="{78A7489F-5177-4675-A072-D65159DC1369}" dt="2022-08-09T17:28:45.691" v="1420" actId="478"/>
          <ac:picMkLst>
            <pc:docMk/>
            <pc:sldMk cId="2329644470" sldId="636"/>
            <ac:picMk id="6" creationId="{8422AC68-EFD8-AEC7-F85C-C3CFB82369E2}"/>
          </ac:picMkLst>
        </pc:picChg>
        <pc:picChg chg="add mod">
          <ac:chgData name="Thomas Stensitzki" userId="75cafe6b-2f2a-469b-85c4-eec3b9c972ba" providerId="ADAL" clId="{78A7489F-5177-4675-A072-D65159DC1369}" dt="2022-08-10T10:20:14.234" v="2064" actId="1440"/>
          <ac:picMkLst>
            <pc:docMk/>
            <pc:sldMk cId="2329644470" sldId="636"/>
            <ac:picMk id="12290" creationId="{5D10AD02-9E97-E148-BCD3-6BDA04AA4614}"/>
          </ac:picMkLst>
        </pc:picChg>
      </pc:sldChg>
      <pc:sldChg chg="del">
        <pc:chgData name="Thomas Stensitzki" userId="75cafe6b-2f2a-469b-85c4-eec3b9c972ba" providerId="ADAL" clId="{78A7489F-5177-4675-A072-D65159DC1369}" dt="2022-08-06T13:56:41.651" v="119" actId="47"/>
        <pc:sldMkLst>
          <pc:docMk/>
          <pc:sldMk cId="2667813829" sldId="637"/>
        </pc:sldMkLst>
      </pc:sldChg>
      <pc:sldChg chg="addSp modSp new mod">
        <pc:chgData name="Thomas Stensitzki" userId="75cafe6b-2f2a-469b-85c4-eec3b9c972ba" providerId="ADAL" clId="{78A7489F-5177-4675-A072-D65159DC1369}" dt="2022-08-10T10:19:32.878" v="2046" actId="1440"/>
        <pc:sldMkLst>
          <pc:docMk/>
          <pc:sldMk cId="3684390708" sldId="637"/>
        </pc:sldMkLst>
        <pc:spChg chg="mod">
          <ac:chgData name="Thomas Stensitzki" userId="75cafe6b-2f2a-469b-85c4-eec3b9c972ba" providerId="ADAL" clId="{78A7489F-5177-4675-A072-D65159DC1369}" dt="2022-08-09T17:30:14.373" v="1425"/>
          <ac:spMkLst>
            <pc:docMk/>
            <pc:sldMk cId="3684390708" sldId="637"/>
            <ac:spMk id="2" creationId="{8AD7FAF3-B495-B12F-51B6-1C732E37932A}"/>
          </ac:spMkLst>
        </pc:spChg>
        <pc:picChg chg="add mod">
          <ac:chgData name="Thomas Stensitzki" userId="75cafe6b-2f2a-469b-85c4-eec3b9c972ba" providerId="ADAL" clId="{78A7489F-5177-4675-A072-D65159DC1369}" dt="2022-08-10T10:19:32.878" v="2046" actId="1440"/>
          <ac:picMkLst>
            <pc:docMk/>
            <pc:sldMk cId="3684390708" sldId="637"/>
            <ac:picMk id="13314" creationId="{28A1B060-07BF-91D6-EC68-A4B5542F3A6F}"/>
          </ac:picMkLst>
        </pc:picChg>
      </pc:sldChg>
      <pc:sldChg chg="addSp modSp new mod modNotesTx">
        <pc:chgData name="Thomas Stensitzki" userId="75cafe6b-2f2a-469b-85c4-eec3b9c972ba" providerId="ADAL" clId="{78A7489F-5177-4675-A072-D65159DC1369}" dt="2022-08-10T10:19:38.183" v="2048" actId="1440"/>
        <pc:sldMkLst>
          <pc:docMk/>
          <pc:sldMk cId="3230378298" sldId="638"/>
        </pc:sldMkLst>
        <pc:spChg chg="mod">
          <ac:chgData name="Thomas Stensitzki" userId="75cafe6b-2f2a-469b-85c4-eec3b9c972ba" providerId="ADAL" clId="{78A7489F-5177-4675-A072-D65159DC1369}" dt="2022-08-09T17:32:48.267" v="1461"/>
          <ac:spMkLst>
            <pc:docMk/>
            <pc:sldMk cId="3230378298" sldId="638"/>
            <ac:spMk id="2" creationId="{C00B30E4-8469-4DD5-DBDF-5EA8E430016C}"/>
          </ac:spMkLst>
        </pc:spChg>
        <pc:picChg chg="add mod modCrop">
          <ac:chgData name="Thomas Stensitzki" userId="75cafe6b-2f2a-469b-85c4-eec3b9c972ba" providerId="ADAL" clId="{78A7489F-5177-4675-A072-D65159DC1369}" dt="2022-08-10T10:19:37.110" v="2047" actId="1440"/>
          <ac:picMkLst>
            <pc:docMk/>
            <pc:sldMk cId="3230378298" sldId="638"/>
            <ac:picMk id="3" creationId="{AED65CD1-5427-A047-8A00-5058552CB070}"/>
          </ac:picMkLst>
        </pc:picChg>
        <pc:picChg chg="add mod">
          <ac:chgData name="Thomas Stensitzki" userId="75cafe6b-2f2a-469b-85c4-eec3b9c972ba" providerId="ADAL" clId="{78A7489F-5177-4675-A072-D65159DC1369}" dt="2022-08-10T10:19:38.183" v="2048" actId="1440"/>
          <ac:picMkLst>
            <pc:docMk/>
            <pc:sldMk cId="3230378298" sldId="638"/>
            <ac:picMk id="14338" creationId="{81D2D748-401A-DD86-FBA5-626021E4115D}"/>
          </ac:picMkLst>
        </pc:picChg>
      </pc:sldChg>
      <pc:sldChg chg="del">
        <pc:chgData name="Thomas Stensitzki" userId="75cafe6b-2f2a-469b-85c4-eec3b9c972ba" providerId="ADAL" clId="{78A7489F-5177-4675-A072-D65159DC1369}" dt="2022-08-06T13:56:41.651" v="119" actId="47"/>
        <pc:sldMkLst>
          <pc:docMk/>
          <pc:sldMk cId="2476629680" sldId="639"/>
        </pc:sldMkLst>
      </pc:sldChg>
      <pc:sldChg chg="modSp add mod ord">
        <pc:chgData name="Thomas Stensitzki" userId="75cafe6b-2f2a-469b-85c4-eec3b9c972ba" providerId="ADAL" clId="{78A7489F-5177-4675-A072-D65159DC1369}" dt="2022-08-10T10:24:28.558" v="2148" actId="14100"/>
        <pc:sldMkLst>
          <pc:docMk/>
          <pc:sldMk cId="3465019233" sldId="639"/>
        </pc:sldMkLst>
        <pc:spChg chg="mod">
          <ac:chgData name="Thomas Stensitzki" userId="75cafe6b-2f2a-469b-85c4-eec3b9c972ba" providerId="ADAL" clId="{78A7489F-5177-4675-A072-D65159DC1369}" dt="2022-08-10T10:24:28.558" v="2148" actId="14100"/>
          <ac:spMkLst>
            <pc:docMk/>
            <pc:sldMk cId="3465019233" sldId="639"/>
            <ac:spMk id="2" creationId="{909DC09D-B9A6-4493-9A72-1CA7ECB1F5CA}"/>
          </ac:spMkLst>
        </pc:spChg>
        <pc:spChg chg="mod">
          <ac:chgData name="Thomas Stensitzki" userId="75cafe6b-2f2a-469b-85c4-eec3b9c972ba" providerId="ADAL" clId="{78A7489F-5177-4675-A072-D65159DC1369}" dt="2022-08-10T10:18:03.482" v="2028" actId="255"/>
          <ac:spMkLst>
            <pc:docMk/>
            <pc:sldMk cId="3465019233" sldId="639"/>
            <ac:spMk id="5" creationId="{C24DACB5-1BEC-4C86-9652-BAFD8DE56FEF}"/>
          </ac:spMkLst>
        </pc:spChg>
      </pc:sldChg>
      <pc:sldChg chg="del">
        <pc:chgData name="Thomas Stensitzki" userId="75cafe6b-2f2a-469b-85c4-eec3b9c972ba" providerId="ADAL" clId="{78A7489F-5177-4675-A072-D65159DC1369}" dt="2022-08-06T13:56:41.651" v="119" actId="47"/>
        <pc:sldMkLst>
          <pc:docMk/>
          <pc:sldMk cId="3213284904" sldId="640"/>
        </pc:sldMkLst>
      </pc:sldChg>
      <pc:sldChg chg="addSp delSp modSp add mod ord">
        <pc:chgData name="Thomas Stensitzki" userId="75cafe6b-2f2a-469b-85c4-eec3b9c972ba" providerId="ADAL" clId="{78A7489F-5177-4675-A072-D65159DC1369}" dt="2022-08-10T10:20:15.699" v="2065" actId="1440"/>
        <pc:sldMkLst>
          <pc:docMk/>
          <pc:sldMk cId="3773795940" sldId="640"/>
        </pc:sldMkLst>
        <pc:spChg chg="mod">
          <ac:chgData name="Thomas Stensitzki" userId="75cafe6b-2f2a-469b-85c4-eec3b9c972ba" providerId="ADAL" clId="{78A7489F-5177-4675-A072-D65159DC1369}" dt="2022-08-09T17:34:51.341" v="1483"/>
          <ac:spMkLst>
            <pc:docMk/>
            <pc:sldMk cId="3773795940" sldId="640"/>
            <ac:spMk id="2" creationId="{7B9CA038-772E-31AF-6878-23EE25451115}"/>
          </ac:spMkLst>
        </pc:spChg>
        <pc:spChg chg="add del">
          <ac:chgData name="Thomas Stensitzki" userId="75cafe6b-2f2a-469b-85c4-eec3b9c972ba" providerId="ADAL" clId="{78A7489F-5177-4675-A072-D65159DC1369}" dt="2022-08-09T17:35:02.053" v="1486" actId="22"/>
          <ac:spMkLst>
            <pc:docMk/>
            <pc:sldMk cId="3773795940" sldId="640"/>
            <ac:spMk id="5" creationId="{20F424EA-FED4-029F-6BE2-EB3E3DD3D576}"/>
          </ac:spMkLst>
        </pc:spChg>
        <pc:picChg chg="del">
          <ac:chgData name="Thomas Stensitzki" userId="75cafe6b-2f2a-469b-85c4-eec3b9c972ba" providerId="ADAL" clId="{78A7489F-5177-4675-A072-D65159DC1369}" dt="2022-08-09T17:34:52.957" v="1484" actId="478"/>
          <ac:picMkLst>
            <pc:docMk/>
            <pc:sldMk cId="3773795940" sldId="640"/>
            <ac:picMk id="12290" creationId="{5D10AD02-9E97-E148-BCD3-6BDA04AA4614}"/>
          </ac:picMkLst>
        </pc:picChg>
        <pc:picChg chg="add mod">
          <ac:chgData name="Thomas Stensitzki" userId="75cafe6b-2f2a-469b-85c4-eec3b9c972ba" providerId="ADAL" clId="{78A7489F-5177-4675-A072-D65159DC1369}" dt="2022-08-10T10:20:15.699" v="2065" actId="1440"/>
          <ac:picMkLst>
            <pc:docMk/>
            <pc:sldMk cId="3773795940" sldId="640"/>
            <ac:picMk id="15362" creationId="{0C73AFF8-3CA6-1F5F-6AF1-FE539605AA1A}"/>
          </ac:picMkLst>
        </pc:picChg>
      </pc:sldChg>
      <pc:sldChg chg="addSp delSp modSp add modNotesTx">
        <pc:chgData name="Thomas Stensitzki" userId="75cafe6b-2f2a-469b-85c4-eec3b9c972ba" providerId="ADAL" clId="{78A7489F-5177-4675-A072-D65159DC1369}" dt="2022-08-10T10:20:17.051" v="2066" actId="1440"/>
        <pc:sldMkLst>
          <pc:docMk/>
          <pc:sldMk cId="2087933606" sldId="641"/>
        </pc:sldMkLst>
        <pc:picChg chg="del">
          <ac:chgData name="Thomas Stensitzki" userId="75cafe6b-2f2a-469b-85c4-eec3b9c972ba" providerId="ADAL" clId="{78A7489F-5177-4675-A072-D65159DC1369}" dt="2022-08-09T17:35:50.846" v="1490" actId="478"/>
          <ac:picMkLst>
            <pc:docMk/>
            <pc:sldMk cId="2087933606" sldId="641"/>
            <ac:picMk id="15362" creationId="{0C73AFF8-3CA6-1F5F-6AF1-FE539605AA1A}"/>
          </ac:picMkLst>
        </pc:picChg>
        <pc:picChg chg="add mod">
          <ac:chgData name="Thomas Stensitzki" userId="75cafe6b-2f2a-469b-85c4-eec3b9c972ba" providerId="ADAL" clId="{78A7489F-5177-4675-A072-D65159DC1369}" dt="2022-08-10T10:20:17.051" v="2066" actId="1440"/>
          <ac:picMkLst>
            <pc:docMk/>
            <pc:sldMk cId="2087933606" sldId="641"/>
            <ac:picMk id="16386" creationId="{107AE30F-4C2B-5E72-C69E-7F0DE23FEC51}"/>
          </ac:picMkLst>
        </pc:picChg>
      </pc:sldChg>
      <pc:sldChg chg="del">
        <pc:chgData name="Thomas Stensitzki" userId="75cafe6b-2f2a-469b-85c4-eec3b9c972ba" providerId="ADAL" clId="{78A7489F-5177-4675-A072-D65159DC1369}" dt="2022-08-06T13:56:41.651" v="119" actId="47"/>
        <pc:sldMkLst>
          <pc:docMk/>
          <pc:sldMk cId="2520872566" sldId="641"/>
        </pc:sldMkLst>
      </pc:sldChg>
      <pc:sldChg chg="del">
        <pc:chgData name="Thomas Stensitzki" userId="75cafe6b-2f2a-469b-85c4-eec3b9c972ba" providerId="ADAL" clId="{78A7489F-5177-4675-A072-D65159DC1369}" dt="2022-08-06T13:56:41.651" v="119" actId="47"/>
        <pc:sldMkLst>
          <pc:docMk/>
          <pc:sldMk cId="1280337819" sldId="642"/>
        </pc:sldMkLst>
      </pc:sldChg>
      <pc:sldChg chg="addSp delSp modSp new mod">
        <pc:chgData name="Thomas Stensitzki" userId="75cafe6b-2f2a-469b-85c4-eec3b9c972ba" providerId="ADAL" clId="{78A7489F-5177-4675-A072-D65159DC1369}" dt="2022-08-10T10:19:41.044" v="2049" actId="1440"/>
        <pc:sldMkLst>
          <pc:docMk/>
          <pc:sldMk cId="1502932586" sldId="642"/>
        </pc:sldMkLst>
        <pc:spChg chg="mod">
          <ac:chgData name="Thomas Stensitzki" userId="75cafe6b-2f2a-469b-85c4-eec3b9c972ba" providerId="ADAL" clId="{78A7489F-5177-4675-A072-D65159DC1369}" dt="2022-08-09T17:38:34.626" v="1523"/>
          <ac:spMkLst>
            <pc:docMk/>
            <pc:sldMk cId="1502932586" sldId="642"/>
            <ac:spMk id="2" creationId="{B30EF01B-F4E2-9138-B17C-E0DDDD1E9BD8}"/>
          </ac:spMkLst>
        </pc:spChg>
        <pc:picChg chg="add del mod">
          <ac:chgData name="Thomas Stensitzki" userId="75cafe6b-2f2a-469b-85c4-eec3b9c972ba" providerId="ADAL" clId="{78A7489F-5177-4675-A072-D65159DC1369}" dt="2022-08-09T17:39:21.595" v="1535"/>
          <ac:picMkLst>
            <pc:docMk/>
            <pc:sldMk cId="1502932586" sldId="642"/>
            <ac:picMk id="17410" creationId="{DB35C899-91CB-0E00-13BF-DE340A62254E}"/>
          </ac:picMkLst>
        </pc:picChg>
        <pc:picChg chg="add mod">
          <ac:chgData name="Thomas Stensitzki" userId="75cafe6b-2f2a-469b-85c4-eec3b9c972ba" providerId="ADAL" clId="{78A7489F-5177-4675-A072-D65159DC1369}" dt="2022-08-10T10:19:41.044" v="2049" actId="1440"/>
          <ac:picMkLst>
            <pc:docMk/>
            <pc:sldMk cId="1502932586" sldId="642"/>
            <ac:picMk id="17412" creationId="{5501A948-1CA2-59B2-FEAB-2DEC0D688656}"/>
          </ac:picMkLst>
        </pc:picChg>
      </pc:sldChg>
      <pc:sldChg chg="del">
        <pc:chgData name="Thomas Stensitzki" userId="75cafe6b-2f2a-469b-85c4-eec3b9c972ba" providerId="ADAL" clId="{78A7489F-5177-4675-A072-D65159DC1369}" dt="2022-08-06T13:56:41.651" v="119" actId="47"/>
        <pc:sldMkLst>
          <pc:docMk/>
          <pc:sldMk cId="2743587653" sldId="643"/>
        </pc:sldMkLst>
      </pc:sldChg>
      <pc:sldChg chg="addSp delSp modSp add mod modAnim">
        <pc:chgData name="Thomas Stensitzki" userId="75cafe6b-2f2a-469b-85c4-eec3b9c972ba" providerId="ADAL" clId="{78A7489F-5177-4675-A072-D65159DC1369}" dt="2022-08-10T10:22:24.175" v="2108"/>
        <pc:sldMkLst>
          <pc:docMk/>
          <pc:sldMk cId="2913103850" sldId="643"/>
        </pc:sldMkLst>
        <pc:spChg chg="mod">
          <ac:chgData name="Thomas Stensitzki" userId="75cafe6b-2f2a-469b-85c4-eec3b9c972ba" providerId="ADAL" clId="{78A7489F-5177-4675-A072-D65159DC1369}" dt="2022-08-09T17:40:36.839" v="1546"/>
          <ac:spMkLst>
            <pc:docMk/>
            <pc:sldMk cId="2913103850" sldId="643"/>
            <ac:spMk id="2" creationId="{B30EF01B-F4E2-9138-B17C-E0DDDD1E9BD8}"/>
          </ac:spMkLst>
        </pc:spChg>
        <pc:picChg chg="del">
          <ac:chgData name="Thomas Stensitzki" userId="75cafe6b-2f2a-469b-85c4-eec3b9c972ba" providerId="ADAL" clId="{78A7489F-5177-4675-A072-D65159DC1369}" dt="2022-08-09T17:40:37.943" v="1547" actId="478"/>
          <ac:picMkLst>
            <pc:docMk/>
            <pc:sldMk cId="2913103850" sldId="643"/>
            <ac:picMk id="17412" creationId="{5501A948-1CA2-59B2-FEAB-2DEC0D688656}"/>
          </ac:picMkLst>
        </pc:picChg>
        <pc:picChg chg="add mod">
          <ac:chgData name="Thomas Stensitzki" userId="75cafe6b-2f2a-469b-85c4-eec3b9c972ba" providerId="ADAL" clId="{78A7489F-5177-4675-A072-D65159DC1369}" dt="2022-08-10T10:19:43.105" v="2050" actId="1440"/>
          <ac:picMkLst>
            <pc:docMk/>
            <pc:sldMk cId="2913103850" sldId="643"/>
            <ac:picMk id="18434" creationId="{58BD7D2C-A90F-A234-9FEF-D1235924C0FA}"/>
          </ac:picMkLst>
        </pc:picChg>
        <pc:picChg chg="add mod">
          <ac:chgData name="Thomas Stensitzki" userId="75cafe6b-2f2a-469b-85c4-eec3b9c972ba" providerId="ADAL" clId="{78A7489F-5177-4675-A072-D65159DC1369}" dt="2022-08-10T10:19:44.172" v="2051" actId="1440"/>
          <ac:picMkLst>
            <pc:docMk/>
            <pc:sldMk cId="2913103850" sldId="643"/>
            <ac:picMk id="18436" creationId="{ADF4A651-1207-C487-BAF2-BD4956731BED}"/>
          </ac:picMkLst>
        </pc:picChg>
      </pc:sldChg>
      <pc:sldChg chg="addSp delSp modSp add">
        <pc:chgData name="Thomas Stensitzki" userId="75cafe6b-2f2a-469b-85c4-eec3b9c972ba" providerId="ADAL" clId="{78A7489F-5177-4675-A072-D65159DC1369}" dt="2022-08-10T10:19:46.572" v="2052" actId="1440"/>
        <pc:sldMkLst>
          <pc:docMk/>
          <pc:sldMk cId="942581030" sldId="644"/>
        </pc:sldMkLst>
        <pc:picChg chg="del">
          <ac:chgData name="Thomas Stensitzki" userId="75cafe6b-2f2a-469b-85c4-eec3b9c972ba" providerId="ADAL" clId="{78A7489F-5177-4675-A072-D65159DC1369}" dt="2022-08-09T17:41:23.118" v="1555" actId="478"/>
          <ac:picMkLst>
            <pc:docMk/>
            <pc:sldMk cId="942581030" sldId="644"/>
            <ac:picMk id="18434" creationId="{58BD7D2C-A90F-A234-9FEF-D1235924C0FA}"/>
          </ac:picMkLst>
        </pc:picChg>
        <pc:picChg chg="del">
          <ac:chgData name="Thomas Stensitzki" userId="75cafe6b-2f2a-469b-85c4-eec3b9c972ba" providerId="ADAL" clId="{78A7489F-5177-4675-A072-D65159DC1369}" dt="2022-08-09T17:41:23.897" v="1556" actId="478"/>
          <ac:picMkLst>
            <pc:docMk/>
            <pc:sldMk cId="942581030" sldId="644"/>
            <ac:picMk id="18436" creationId="{ADF4A651-1207-C487-BAF2-BD4956731BED}"/>
          </ac:picMkLst>
        </pc:picChg>
        <pc:picChg chg="add mod">
          <ac:chgData name="Thomas Stensitzki" userId="75cafe6b-2f2a-469b-85c4-eec3b9c972ba" providerId="ADAL" clId="{78A7489F-5177-4675-A072-D65159DC1369}" dt="2022-08-10T10:19:46.572" v="2052" actId="1440"/>
          <ac:picMkLst>
            <pc:docMk/>
            <pc:sldMk cId="942581030" sldId="644"/>
            <ac:picMk id="19458" creationId="{A27D1A30-4B7E-7A65-688E-FB44556D3BAA}"/>
          </ac:picMkLst>
        </pc:picChg>
      </pc:sldChg>
      <pc:sldChg chg="del">
        <pc:chgData name="Thomas Stensitzki" userId="75cafe6b-2f2a-469b-85c4-eec3b9c972ba" providerId="ADAL" clId="{78A7489F-5177-4675-A072-D65159DC1369}" dt="2022-08-06T13:56:41.651" v="119" actId="47"/>
        <pc:sldMkLst>
          <pc:docMk/>
          <pc:sldMk cId="3061187211" sldId="644"/>
        </pc:sldMkLst>
      </pc:sldChg>
      <pc:sldChg chg="del">
        <pc:chgData name="Thomas Stensitzki" userId="75cafe6b-2f2a-469b-85c4-eec3b9c972ba" providerId="ADAL" clId="{78A7489F-5177-4675-A072-D65159DC1369}" dt="2022-08-06T13:56:41.651" v="119" actId="47"/>
        <pc:sldMkLst>
          <pc:docMk/>
          <pc:sldMk cId="2023922211" sldId="645"/>
        </pc:sldMkLst>
      </pc:sldChg>
      <pc:sldChg chg="addSp delSp modSp add mod modNotesTx">
        <pc:chgData name="Thomas Stensitzki" userId="75cafe6b-2f2a-469b-85c4-eec3b9c972ba" providerId="ADAL" clId="{78A7489F-5177-4675-A072-D65159DC1369}" dt="2022-08-10T10:19:54.107" v="2053" actId="1440"/>
        <pc:sldMkLst>
          <pc:docMk/>
          <pc:sldMk cId="2729172580" sldId="645"/>
        </pc:sldMkLst>
        <pc:spChg chg="mod">
          <ac:chgData name="Thomas Stensitzki" userId="75cafe6b-2f2a-469b-85c4-eec3b9c972ba" providerId="ADAL" clId="{78A7489F-5177-4675-A072-D65159DC1369}" dt="2022-08-09T17:43:39.330" v="1588"/>
          <ac:spMkLst>
            <pc:docMk/>
            <pc:sldMk cId="2729172580" sldId="645"/>
            <ac:spMk id="2" creationId="{B30EF01B-F4E2-9138-B17C-E0DDDD1E9BD8}"/>
          </ac:spMkLst>
        </pc:spChg>
        <pc:picChg chg="del">
          <ac:chgData name="Thomas Stensitzki" userId="75cafe6b-2f2a-469b-85c4-eec3b9c972ba" providerId="ADAL" clId="{78A7489F-5177-4675-A072-D65159DC1369}" dt="2022-08-09T17:43:35.987" v="1587" actId="478"/>
          <ac:picMkLst>
            <pc:docMk/>
            <pc:sldMk cId="2729172580" sldId="645"/>
            <ac:picMk id="19458" creationId="{A27D1A30-4B7E-7A65-688E-FB44556D3BAA}"/>
          </ac:picMkLst>
        </pc:picChg>
        <pc:picChg chg="add mod">
          <ac:chgData name="Thomas Stensitzki" userId="75cafe6b-2f2a-469b-85c4-eec3b9c972ba" providerId="ADAL" clId="{78A7489F-5177-4675-A072-D65159DC1369}" dt="2022-08-10T10:19:54.107" v="2053" actId="1440"/>
          <ac:picMkLst>
            <pc:docMk/>
            <pc:sldMk cId="2729172580" sldId="645"/>
            <ac:picMk id="20482" creationId="{FF375F31-E1A6-A28E-4AC7-0D8F7899DE42}"/>
          </ac:picMkLst>
        </pc:picChg>
      </pc:sldChg>
      <pc:sldChg chg="addSp delSp modSp add">
        <pc:chgData name="Thomas Stensitzki" userId="75cafe6b-2f2a-469b-85c4-eec3b9c972ba" providerId="ADAL" clId="{78A7489F-5177-4675-A072-D65159DC1369}" dt="2022-08-10T10:19:55.794" v="2054" actId="1440"/>
        <pc:sldMkLst>
          <pc:docMk/>
          <pc:sldMk cId="295227728" sldId="646"/>
        </pc:sldMkLst>
        <pc:picChg chg="del">
          <ac:chgData name="Thomas Stensitzki" userId="75cafe6b-2f2a-469b-85c4-eec3b9c972ba" providerId="ADAL" clId="{78A7489F-5177-4675-A072-D65159DC1369}" dt="2022-08-09T17:44:10.840" v="1594" actId="478"/>
          <ac:picMkLst>
            <pc:docMk/>
            <pc:sldMk cId="295227728" sldId="646"/>
            <ac:picMk id="20482" creationId="{FF375F31-E1A6-A28E-4AC7-0D8F7899DE42}"/>
          </ac:picMkLst>
        </pc:picChg>
        <pc:picChg chg="add mod">
          <ac:chgData name="Thomas Stensitzki" userId="75cafe6b-2f2a-469b-85c4-eec3b9c972ba" providerId="ADAL" clId="{78A7489F-5177-4675-A072-D65159DC1369}" dt="2022-08-10T10:19:55.794" v="2054" actId="1440"/>
          <ac:picMkLst>
            <pc:docMk/>
            <pc:sldMk cId="295227728" sldId="646"/>
            <ac:picMk id="21506" creationId="{2E03E48E-6309-9518-DCBC-90D946D68063}"/>
          </ac:picMkLst>
        </pc:picChg>
      </pc:sldChg>
      <pc:sldChg chg="del">
        <pc:chgData name="Thomas Stensitzki" userId="75cafe6b-2f2a-469b-85c4-eec3b9c972ba" providerId="ADAL" clId="{78A7489F-5177-4675-A072-D65159DC1369}" dt="2022-08-06T13:57:09.138" v="123" actId="47"/>
        <pc:sldMkLst>
          <pc:docMk/>
          <pc:sldMk cId="4232995729" sldId="646"/>
        </pc:sldMkLst>
      </pc:sldChg>
      <pc:sldChg chg="addSp delSp modSp new mod modClrScheme chgLayout">
        <pc:chgData name="Thomas Stensitzki" userId="75cafe6b-2f2a-469b-85c4-eec3b9c972ba" providerId="ADAL" clId="{78A7489F-5177-4675-A072-D65159DC1369}" dt="2022-08-10T10:16:42.993" v="2015" actId="20577"/>
        <pc:sldMkLst>
          <pc:docMk/>
          <pc:sldMk cId="3764594880" sldId="647"/>
        </pc:sldMkLst>
        <pc:spChg chg="del mod ord">
          <ac:chgData name="Thomas Stensitzki" userId="75cafe6b-2f2a-469b-85c4-eec3b9c972ba" providerId="ADAL" clId="{78A7489F-5177-4675-A072-D65159DC1369}" dt="2022-08-10T10:16:40.849" v="2011" actId="700"/>
          <ac:spMkLst>
            <pc:docMk/>
            <pc:sldMk cId="3764594880" sldId="647"/>
            <ac:spMk id="2" creationId="{0D36720E-B4D5-3419-0E09-A9A4476198A2}"/>
          </ac:spMkLst>
        </pc:spChg>
        <pc:spChg chg="del mod ord">
          <ac:chgData name="Thomas Stensitzki" userId="75cafe6b-2f2a-469b-85c4-eec3b9c972ba" providerId="ADAL" clId="{78A7489F-5177-4675-A072-D65159DC1369}" dt="2022-08-10T10:16:40.849" v="2011" actId="700"/>
          <ac:spMkLst>
            <pc:docMk/>
            <pc:sldMk cId="3764594880" sldId="647"/>
            <ac:spMk id="3" creationId="{2189C057-EBFE-6073-6593-35C95B066789}"/>
          </ac:spMkLst>
        </pc:spChg>
        <pc:spChg chg="add mod ord">
          <ac:chgData name="Thomas Stensitzki" userId="75cafe6b-2f2a-469b-85c4-eec3b9c972ba" providerId="ADAL" clId="{78A7489F-5177-4675-A072-D65159DC1369}" dt="2022-08-10T10:16:42.993" v="2015" actId="20577"/>
          <ac:spMkLst>
            <pc:docMk/>
            <pc:sldMk cId="3764594880" sldId="647"/>
            <ac:spMk id="4" creationId="{3B6FAC27-3ED8-4466-5AA3-7B53C80EC4B1}"/>
          </ac:spMkLst>
        </pc:spChg>
        <pc:spChg chg="add mod ord">
          <ac:chgData name="Thomas Stensitzki" userId="75cafe6b-2f2a-469b-85c4-eec3b9c972ba" providerId="ADAL" clId="{78A7489F-5177-4675-A072-D65159DC1369}" dt="2022-08-10T10:16:40.849" v="2011" actId="700"/>
          <ac:spMkLst>
            <pc:docMk/>
            <pc:sldMk cId="3764594880" sldId="647"/>
            <ac:spMk id="5" creationId="{46DBDD81-7724-629C-A70D-41D41678B477}"/>
          </ac:spMkLst>
        </pc:spChg>
      </pc:sldChg>
      <pc:sldChg chg="modSp add mod ord">
        <pc:chgData name="Thomas Stensitzki" userId="75cafe6b-2f2a-469b-85c4-eec3b9c972ba" providerId="ADAL" clId="{78A7489F-5177-4675-A072-D65159DC1369}" dt="2022-08-10T10:18:28.859" v="2033" actId="1076"/>
        <pc:sldMkLst>
          <pc:docMk/>
          <pc:sldMk cId="1091040638" sldId="648"/>
        </pc:sldMkLst>
        <pc:spChg chg="mod">
          <ac:chgData name="Thomas Stensitzki" userId="75cafe6b-2f2a-469b-85c4-eec3b9c972ba" providerId="ADAL" clId="{78A7489F-5177-4675-A072-D65159DC1369}" dt="2022-08-10T10:18:28.859" v="2033" actId="1076"/>
          <ac:spMkLst>
            <pc:docMk/>
            <pc:sldMk cId="1091040638" sldId="648"/>
            <ac:spMk id="2" creationId="{909DC09D-B9A6-4493-9A72-1CA7ECB1F5CA}"/>
          </ac:spMkLst>
        </pc:spChg>
      </pc:sldChg>
      <pc:sldChg chg="add del">
        <pc:chgData name="Thomas Stensitzki" userId="75cafe6b-2f2a-469b-85c4-eec3b9c972ba" providerId="ADAL" clId="{78A7489F-5177-4675-A072-D65159DC1369}" dt="2022-08-06T13:57:05.154" v="122" actId="47"/>
        <pc:sldMkLst>
          <pc:docMk/>
          <pc:sldMk cId="1507941917" sldId="648"/>
        </pc:sldMkLst>
      </pc:sldChg>
      <pc:sldChg chg="add del">
        <pc:chgData name="Thomas Stensitzki" userId="75cafe6b-2f2a-469b-85c4-eec3b9c972ba" providerId="ADAL" clId="{78A7489F-5177-4675-A072-D65159DC1369}" dt="2022-08-10T10:16:56.553" v="2017"/>
        <pc:sldMkLst>
          <pc:docMk/>
          <pc:sldMk cId="3284917679" sldId="648"/>
        </pc:sldMkLst>
      </pc:sldChg>
      <pc:sldChg chg="add del">
        <pc:chgData name="Thomas Stensitzki" userId="75cafe6b-2f2a-469b-85c4-eec3b9c972ba" providerId="ADAL" clId="{78A7489F-5177-4675-A072-D65159DC1369}" dt="2022-08-06T13:57:05.154" v="122" actId="47"/>
        <pc:sldMkLst>
          <pc:docMk/>
          <pc:sldMk cId="1632744645" sldId="649"/>
        </pc:sldMkLst>
      </pc:sldChg>
      <pc:sldChg chg="modSp add mod">
        <pc:chgData name="Thomas Stensitzki" userId="75cafe6b-2f2a-469b-85c4-eec3b9c972ba" providerId="ADAL" clId="{78A7489F-5177-4675-A072-D65159DC1369}" dt="2022-08-10T10:18:45.288" v="2036" actId="14100"/>
        <pc:sldMkLst>
          <pc:docMk/>
          <pc:sldMk cId="2369649432" sldId="649"/>
        </pc:sldMkLst>
        <pc:spChg chg="mod">
          <ac:chgData name="Thomas Stensitzki" userId="75cafe6b-2f2a-469b-85c4-eec3b9c972ba" providerId="ADAL" clId="{78A7489F-5177-4675-A072-D65159DC1369}" dt="2022-08-10T10:18:45.288" v="2036" actId="14100"/>
          <ac:spMkLst>
            <pc:docMk/>
            <pc:sldMk cId="2369649432" sldId="649"/>
            <ac:spMk id="2" creationId="{909DC09D-B9A6-4493-9A72-1CA7ECB1F5CA}"/>
          </ac:spMkLst>
        </pc:spChg>
      </pc:sldChg>
      <pc:sldChg chg="add del">
        <pc:chgData name="Thomas Stensitzki" userId="75cafe6b-2f2a-469b-85c4-eec3b9c972ba" providerId="ADAL" clId="{78A7489F-5177-4675-A072-D65159DC1369}" dt="2022-08-06T13:57:05.154" v="122" actId="47"/>
        <pc:sldMkLst>
          <pc:docMk/>
          <pc:sldMk cId="2904891794" sldId="650"/>
        </pc:sldMkLst>
      </pc:sldChg>
      <pc:sldChg chg="modSp add mod">
        <pc:chgData name="Thomas Stensitzki" userId="75cafe6b-2f2a-469b-85c4-eec3b9c972ba" providerId="ADAL" clId="{78A7489F-5177-4675-A072-D65159DC1369}" dt="2022-08-10T10:18:59.003" v="2038" actId="1076"/>
        <pc:sldMkLst>
          <pc:docMk/>
          <pc:sldMk cId="4292684490" sldId="650"/>
        </pc:sldMkLst>
        <pc:spChg chg="mod">
          <ac:chgData name="Thomas Stensitzki" userId="75cafe6b-2f2a-469b-85c4-eec3b9c972ba" providerId="ADAL" clId="{78A7489F-5177-4675-A072-D65159DC1369}" dt="2022-08-10T10:18:59.003" v="2038" actId="1076"/>
          <ac:spMkLst>
            <pc:docMk/>
            <pc:sldMk cId="4292684490" sldId="650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78A7489F-5177-4675-A072-D65159DC1369}" dt="2022-08-10T10:20:49.668" v="2077" actId="14100"/>
        <pc:sldMkLst>
          <pc:docMk/>
          <pc:sldMk cId="324892990" sldId="651"/>
        </pc:sldMkLst>
        <pc:spChg chg="mod">
          <ac:chgData name="Thomas Stensitzki" userId="75cafe6b-2f2a-469b-85c4-eec3b9c972ba" providerId="ADAL" clId="{78A7489F-5177-4675-A072-D65159DC1369}" dt="2022-08-10T10:20:49.668" v="2077" actId="14100"/>
          <ac:spMkLst>
            <pc:docMk/>
            <pc:sldMk cId="324892990" sldId="651"/>
            <ac:spMk id="2" creationId="{909DC09D-B9A6-4493-9A72-1CA7ECB1F5CA}"/>
          </ac:spMkLst>
        </pc:spChg>
      </pc:sldChg>
      <pc:sldChg chg="add del">
        <pc:chgData name="Thomas Stensitzki" userId="75cafe6b-2f2a-469b-85c4-eec3b9c972ba" providerId="ADAL" clId="{78A7489F-5177-4675-A072-D65159DC1369}" dt="2022-08-06T13:57:05.154" v="122" actId="47"/>
        <pc:sldMkLst>
          <pc:docMk/>
          <pc:sldMk cId="448268979" sldId="651"/>
        </pc:sldMkLst>
      </pc:sldChg>
      <pc:sldChg chg="modSp add mod ord">
        <pc:chgData name="Thomas Stensitzki" userId="75cafe6b-2f2a-469b-85c4-eec3b9c972ba" providerId="ADAL" clId="{78A7489F-5177-4675-A072-D65159DC1369}" dt="2022-08-10T10:21:29.183" v="2086" actId="1076"/>
        <pc:sldMkLst>
          <pc:docMk/>
          <pc:sldMk cId="2700638492" sldId="652"/>
        </pc:sldMkLst>
        <pc:spChg chg="mod">
          <ac:chgData name="Thomas Stensitzki" userId="75cafe6b-2f2a-469b-85c4-eec3b9c972ba" providerId="ADAL" clId="{78A7489F-5177-4675-A072-D65159DC1369}" dt="2022-08-10T10:21:29.183" v="2086" actId="1076"/>
          <ac:spMkLst>
            <pc:docMk/>
            <pc:sldMk cId="2700638492" sldId="652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78A7489F-5177-4675-A072-D65159DC1369}" dt="2022-08-10T10:21:49.889" v="2092" actId="1076"/>
        <pc:sldMkLst>
          <pc:docMk/>
          <pc:sldMk cId="1379297492" sldId="653"/>
        </pc:sldMkLst>
        <pc:spChg chg="mod">
          <ac:chgData name="Thomas Stensitzki" userId="75cafe6b-2f2a-469b-85c4-eec3b9c972ba" providerId="ADAL" clId="{78A7489F-5177-4675-A072-D65159DC1369}" dt="2022-08-10T10:21:49.889" v="2092" actId="1076"/>
          <ac:spMkLst>
            <pc:docMk/>
            <pc:sldMk cId="1379297492" sldId="653"/>
            <ac:spMk id="2" creationId="{909DC09D-B9A6-4493-9A72-1CA7ECB1F5CA}"/>
          </ac:spMkLst>
        </pc:spChg>
      </pc:sldChg>
      <pc:sldChg chg="modSp add mod">
        <pc:chgData name="Thomas Stensitzki" userId="75cafe6b-2f2a-469b-85c4-eec3b9c972ba" providerId="ADAL" clId="{78A7489F-5177-4675-A072-D65159DC1369}" dt="2022-08-10T10:21:44.270" v="2091" actId="1076"/>
        <pc:sldMkLst>
          <pc:docMk/>
          <pc:sldMk cId="20870858" sldId="654"/>
        </pc:sldMkLst>
        <pc:spChg chg="mod">
          <ac:chgData name="Thomas Stensitzki" userId="75cafe6b-2f2a-469b-85c4-eec3b9c972ba" providerId="ADAL" clId="{78A7489F-5177-4675-A072-D65159DC1369}" dt="2022-08-10T10:21:44.270" v="2091" actId="1076"/>
          <ac:spMkLst>
            <pc:docMk/>
            <pc:sldMk cId="20870858" sldId="654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78A7489F-5177-4675-A072-D65159DC1369}" dt="2022-08-10T10:21:58.835" v="2096" actId="1076"/>
        <pc:sldMkLst>
          <pc:docMk/>
          <pc:sldMk cId="4081057211" sldId="655"/>
        </pc:sldMkLst>
        <pc:spChg chg="mod">
          <ac:chgData name="Thomas Stensitzki" userId="75cafe6b-2f2a-469b-85c4-eec3b9c972ba" providerId="ADAL" clId="{78A7489F-5177-4675-A072-D65159DC1369}" dt="2022-08-10T10:21:58.835" v="2096" actId="1076"/>
          <ac:spMkLst>
            <pc:docMk/>
            <pc:sldMk cId="4081057211" sldId="655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78A7489F-5177-4675-A072-D65159DC1369}" dt="2022-08-10T10:22:06.738" v="2100" actId="1076"/>
        <pc:sldMkLst>
          <pc:docMk/>
          <pc:sldMk cId="2870420379" sldId="656"/>
        </pc:sldMkLst>
        <pc:spChg chg="mod">
          <ac:chgData name="Thomas Stensitzki" userId="75cafe6b-2f2a-469b-85c4-eec3b9c972ba" providerId="ADAL" clId="{78A7489F-5177-4675-A072-D65159DC1369}" dt="2022-08-10T10:22:06.738" v="2100" actId="1076"/>
          <ac:spMkLst>
            <pc:docMk/>
            <pc:sldMk cId="2870420379" sldId="656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78A7489F-5177-4675-A072-D65159DC1369}" dt="2022-08-10T10:22:15.464" v="2104" actId="1076"/>
        <pc:sldMkLst>
          <pc:docMk/>
          <pc:sldMk cId="1841510030" sldId="657"/>
        </pc:sldMkLst>
        <pc:spChg chg="mod">
          <ac:chgData name="Thomas Stensitzki" userId="75cafe6b-2f2a-469b-85c4-eec3b9c972ba" providerId="ADAL" clId="{78A7489F-5177-4675-A072-D65159DC1369}" dt="2022-08-10T10:22:15.464" v="2104" actId="1076"/>
          <ac:spMkLst>
            <pc:docMk/>
            <pc:sldMk cId="1841510030" sldId="657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78A7489F-5177-4675-A072-D65159DC1369}" dt="2022-08-10T10:22:47.881" v="2109" actId="1076"/>
        <pc:sldMkLst>
          <pc:docMk/>
          <pc:sldMk cId="3337092959" sldId="658"/>
        </pc:sldMkLst>
        <pc:spChg chg="mod">
          <ac:chgData name="Thomas Stensitzki" userId="75cafe6b-2f2a-469b-85c4-eec3b9c972ba" providerId="ADAL" clId="{78A7489F-5177-4675-A072-D65159DC1369}" dt="2022-08-10T10:22:47.881" v="2109" actId="1076"/>
          <ac:spMkLst>
            <pc:docMk/>
            <pc:sldMk cId="3337092959" sldId="658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78A7489F-5177-4675-A072-D65159DC1369}" dt="2022-08-10T10:23:17.660" v="2123" actId="20577"/>
        <pc:sldMkLst>
          <pc:docMk/>
          <pc:sldMk cId="1962477249" sldId="659"/>
        </pc:sldMkLst>
        <pc:spChg chg="mod">
          <ac:chgData name="Thomas Stensitzki" userId="75cafe6b-2f2a-469b-85c4-eec3b9c972ba" providerId="ADAL" clId="{78A7489F-5177-4675-A072-D65159DC1369}" dt="2022-08-10T10:23:17.660" v="2123" actId="20577"/>
          <ac:spMkLst>
            <pc:docMk/>
            <pc:sldMk cId="1962477249" sldId="659"/>
            <ac:spMk id="4" creationId="{F3A15CBD-C746-44A3-A4F0-4898CE2F02E6}"/>
          </ac:spMkLst>
        </pc:spChg>
      </pc:sldChg>
      <pc:sldChg chg="modSp add mod ord">
        <pc:chgData name="Thomas Stensitzki" userId="75cafe6b-2f2a-469b-85c4-eec3b9c972ba" providerId="ADAL" clId="{78A7489F-5177-4675-A072-D65159DC1369}" dt="2022-08-10T10:23:38.044" v="2130" actId="14100"/>
        <pc:sldMkLst>
          <pc:docMk/>
          <pc:sldMk cId="1061161082" sldId="660"/>
        </pc:sldMkLst>
        <pc:spChg chg="mod">
          <ac:chgData name="Thomas Stensitzki" userId="75cafe6b-2f2a-469b-85c4-eec3b9c972ba" providerId="ADAL" clId="{78A7489F-5177-4675-A072-D65159DC1369}" dt="2022-08-10T10:23:38.044" v="2130" actId="14100"/>
          <ac:spMkLst>
            <pc:docMk/>
            <pc:sldMk cId="1061161082" sldId="660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78A7489F-5177-4675-A072-D65159DC1369}" dt="2022-08-10T10:23:44.308" v="2134" actId="1076"/>
        <pc:sldMkLst>
          <pc:docMk/>
          <pc:sldMk cId="2497496185" sldId="661"/>
        </pc:sldMkLst>
        <pc:spChg chg="mod">
          <ac:chgData name="Thomas Stensitzki" userId="75cafe6b-2f2a-469b-85c4-eec3b9c972ba" providerId="ADAL" clId="{78A7489F-5177-4675-A072-D65159DC1369}" dt="2022-08-10T10:23:44.308" v="2134" actId="1076"/>
          <ac:spMkLst>
            <pc:docMk/>
            <pc:sldMk cId="2497496185" sldId="661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78A7489F-5177-4675-A072-D65159DC1369}" dt="2022-08-10T10:23:53.045" v="2138" actId="1076"/>
        <pc:sldMkLst>
          <pc:docMk/>
          <pc:sldMk cId="301037216" sldId="662"/>
        </pc:sldMkLst>
        <pc:spChg chg="mod">
          <ac:chgData name="Thomas Stensitzki" userId="75cafe6b-2f2a-469b-85c4-eec3b9c972ba" providerId="ADAL" clId="{78A7489F-5177-4675-A072-D65159DC1369}" dt="2022-08-10T10:23:53.045" v="2138" actId="1076"/>
          <ac:spMkLst>
            <pc:docMk/>
            <pc:sldMk cId="301037216" sldId="662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78A7489F-5177-4675-A072-D65159DC1369}" dt="2022-08-10T10:24:07.245" v="2143" actId="14100"/>
        <pc:sldMkLst>
          <pc:docMk/>
          <pc:sldMk cId="815879234" sldId="663"/>
        </pc:sldMkLst>
        <pc:spChg chg="mod">
          <ac:chgData name="Thomas Stensitzki" userId="75cafe6b-2f2a-469b-85c4-eec3b9c972ba" providerId="ADAL" clId="{78A7489F-5177-4675-A072-D65159DC1369}" dt="2022-08-10T10:24:07.245" v="2143" actId="14100"/>
          <ac:spMkLst>
            <pc:docMk/>
            <pc:sldMk cId="815879234" sldId="663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78A7489F-5177-4675-A072-D65159DC1369}" dt="2022-08-10T10:24:18.618" v="2147" actId="1076"/>
        <pc:sldMkLst>
          <pc:docMk/>
          <pc:sldMk cId="3506364790" sldId="664"/>
        </pc:sldMkLst>
        <pc:spChg chg="mod">
          <ac:chgData name="Thomas Stensitzki" userId="75cafe6b-2f2a-469b-85c4-eec3b9c972ba" providerId="ADAL" clId="{78A7489F-5177-4675-A072-D65159DC1369}" dt="2022-08-10T10:24:18.618" v="2147" actId="1076"/>
          <ac:spMkLst>
            <pc:docMk/>
            <pc:sldMk cId="3506364790" sldId="664"/>
            <ac:spMk id="2" creationId="{909DC09D-B9A6-4493-9A72-1CA7ECB1F5CA}"/>
          </ac:spMkLst>
        </pc:spChg>
      </pc:sldChg>
    </pc:docChg>
  </pc:docChgLst>
  <pc:docChgLst>
    <pc:chgData name="Thomas Stensitzki" userId="75cafe6b-2f2a-469b-85c4-eec3b9c972ba" providerId="ADAL" clId="{EF5284BB-E924-47D6-B186-EC378FA380D2}"/>
    <pc:docChg chg="undo redo custSel addSld delSld modSld sldOrd addSection modSection">
      <pc:chgData name="Thomas Stensitzki" userId="75cafe6b-2f2a-469b-85c4-eec3b9c972ba" providerId="ADAL" clId="{EF5284BB-E924-47D6-B186-EC378FA380D2}" dt="2023-05-25T15:52:22.583" v="5170" actId="729"/>
      <pc:docMkLst>
        <pc:docMk/>
      </pc:docMkLst>
      <pc:sldChg chg="addSp modSp mod">
        <pc:chgData name="Thomas Stensitzki" userId="75cafe6b-2f2a-469b-85c4-eec3b9c972ba" providerId="ADAL" clId="{EF5284BB-E924-47D6-B186-EC378FA380D2}" dt="2023-05-25T11:09:09.332" v="4311" actId="1076"/>
        <pc:sldMkLst>
          <pc:docMk/>
          <pc:sldMk cId="671489701" sldId="256"/>
        </pc:sldMkLst>
        <pc:spChg chg="mod">
          <ac:chgData name="Thomas Stensitzki" userId="75cafe6b-2f2a-469b-85c4-eec3b9c972ba" providerId="ADAL" clId="{EF5284BB-E924-47D6-B186-EC378FA380D2}" dt="2023-04-22T12:48:02.069" v="13" actId="20577"/>
          <ac:spMkLst>
            <pc:docMk/>
            <pc:sldMk cId="671489701" sldId="256"/>
            <ac:spMk id="3" creationId="{CBA95633-B02D-4A15-A8B1-A38E0A70FD27}"/>
          </ac:spMkLst>
        </pc:spChg>
        <pc:picChg chg="add mod">
          <ac:chgData name="Thomas Stensitzki" userId="75cafe6b-2f2a-469b-85c4-eec3b9c972ba" providerId="ADAL" clId="{EF5284BB-E924-47D6-B186-EC378FA380D2}" dt="2023-05-25T11:09:09.332" v="4311" actId="1076"/>
          <ac:picMkLst>
            <pc:docMk/>
            <pc:sldMk cId="671489701" sldId="256"/>
            <ac:picMk id="5" creationId="{C13428CA-74A7-C843-3D12-E6FB7CD644DB}"/>
          </ac:picMkLst>
        </pc:picChg>
      </pc:sldChg>
      <pc:sldChg chg="modSp mod">
        <pc:chgData name="Thomas Stensitzki" userId="75cafe6b-2f2a-469b-85c4-eec3b9c972ba" providerId="ADAL" clId="{EF5284BB-E924-47D6-B186-EC378FA380D2}" dt="2023-05-25T11:13:02.937" v="4317" actId="6549"/>
        <pc:sldMkLst>
          <pc:docMk/>
          <pc:sldMk cId="2855324227" sldId="257"/>
        </pc:sldMkLst>
        <pc:graphicFrameChg chg="mod modGraphic">
          <ac:chgData name="Thomas Stensitzki" userId="75cafe6b-2f2a-469b-85c4-eec3b9c972ba" providerId="ADAL" clId="{EF5284BB-E924-47D6-B186-EC378FA380D2}" dt="2023-05-25T11:13:02.937" v="4317" actId="6549"/>
          <ac:graphicFrameMkLst>
            <pc:docMk/>
            <pc:sldMk cId="2855324227" sldId="257"/>
            <ac:graphicFrameMk id="6" creationId="{0F955DCC-462D-431D-BBDE-26F10687D590}"/>
          </ac:graphicFrameMkLst>
        </pc:graphicFrameChg>
      </pc:sldChg>
      <pc:sldChg chg="modSp mod">
        <pc:chgData name="Thomas Stensitzki" userId="75cafe6b-2f2a-469b-85c4-eec3b9c972ba" providerId="ADAL" clId="{EF5284BB-E924-47D6-B186-EC378FA380D2}" dt="2023-04-22T12:49:12.555" v="29" actId="20577"/>
        <pc:sldMkLst>
          <pc:docMk/>
          <pc:sldMk cId="3332792154" sldId="258"/>
        </pc:sldMkLst>
        <pc:spChg chg="mod">
          <ac:chgData name="Thomas Stensitzki" userId="75cafe6b-2f2a-469b-85c4-eec3b9c972ba" providerId="ADAL" clId="{EF5284BB-E924-47D6-B186-EC378FA380D2}" dt="2023-04-22T12:49:12.555" v="29" actId="20577"/>
          <ac:spMkLst>
            <pc:docMk/>
            <pc:sldMk cId="3332792154" sldId="258"/>
            <ac:spMk id="3" creationId="{3A5A44EB-7FB9-473A-8ED3-C49DDD2E65AB}"/>
          </ac:spMkLst>
        </pc:spChg>
      </pc:sldChg>
      <pc:sldChg chg="addSp delSp modSp mod modShow">
        <pc:chgData name="Thomas Stensitzki" userId="75cafe6b-2f2a-469b-85c4-eec3b9c972ba" providerId="ADAL" clId="{EF5284BB-E924-47D6-B186-EC378FA380D2}" dt="2023-05-25T14:36:53.799" v="5042" actId="478"/>
        <pc:sldMkLst>
          <pc:docMk/>
          <pc:sldMk cId="1545829058" sldId="259"/>
        </pc:sldMkLst>
        <pc:spChg chg="del">
          <ac:chgData name="Thomas Stensitzki" userId="75cafe6b-2f2a-469b-85c4-eec3b9c972ba" providerId="ADAL" clId="{EF5284BB-E924-47D6-B186-EC378FA380D2}" dt="2023-05-25T14:36:51.793" v="5041" actId="478"/>
          <ac:spMkLst>
            <pc:docMk/>
            <pc:sldMk cId="1545829058" sldId="259"/>
            <ac:spMk id="2" creationId="{72256567-F024-492F-B46B-D63A1E867178}"/>
          </ac:spMkLst>
        </pc:spChg>
        <pc:spChg chg="add del mod">
          <ac:chgData name="Thomas Stensitzki" userId="75cafe6b-2f2a-469b-85c4-eec3b9c972ba" providerId="ADAL" clId="{EF5284BB-E924-47D6-B186-EC378FA380D2}" dt="2023-05-25T14:36:53.799" v="5042" actId="478"/>
          <ac:spMkLst>
            <pc:docMk/>
            <pc:sldMk cId="1545829058" sldId="259"/>
            <ac:spMk id="5" creationId="{3F167C4A-893C-6682-23DD-52FFDC5B0F3B}"/>
          </ac:spMkLst>
        </pc:spChg>
        <pc:picChg chg="del">
          <ac:chgData name="Thomas Stensitzki" userId="75cafe6b-2f2a-469b-85c4-eec3b9c972ba" providerId="ADAL" clId="{EF5284BB-E924-47D6-B186-EC378FA380D2}" dt="2023-05-05T13:31:00.706" v="32" actId="478"/>
          <ac:picMkLst>
            <pc:docMk/>
            <pc:sldMk cId="1545829058" sldId="259"/>
            <ac:picMk id="4" creationId="{31DC9F61-9044-6FE5-0374-686D575A8A28}"/>
          </ac:picMkLst>
        </pc:picChg>
      </pc:sldChg>
      <pc:sldChg chg="addSp modSp mod">
        <pc:chgData name="Thomas Stensitzki" userId="75cafe6b-2f2a-469b-85c4-eec3b9c972ba" providerId="ADAL" clId="{EF5284BB-E924-47D6-B186-EC378FA380D2}" dt="2023-05-25T11:24:57.393" v="4641" actId="1076"/>
        <pc:sldMkLst>
          <pc:docMk/>
          <pc:sldMk cId="2698998357" sldId="260"/>
        </pc:sldMkLst>
        <pc:spChg chg="mod">
          <ac:chgData name="Thomas Stensitzki" userId="75cafe6b-2f2a-469b-85c4-eec3b9c972ba" providerId="ADAL" clId="{EF5284BB-E924-47D6-B186-EC378FA380D2}" dt="2023-05-05T13:33:43.085" v="165"/>
          <ac:spMkLst>
            <pc:docMk/>
            <pc:sldMk cId="2698998357" sldId="260"/>
            <ac:spMk id="4" creationId="{F3A15CBD-C746-44A3-A4F0-4898CE2F02E6}"/>
          </ac:spMkLst>
        </pc:spChg>
        <pc:spChg chg="mod">
          <ac:chgData name="Thomas Stensitzki" userId="75cafe6b-2f2a-469b-85c4-eec3b9c972ba" providerId="ADAL" clId="{EF5284BB-E924-47D6-B186-EC378FA380D2}" dt="2023-05-05T13:33:50.808" v="183" actId="5793"/>
          <ac:spMkLst>
            <pc:docMk/>
            <pc:sldMk cId="2698998357" sldId="260"/>
            <ac:spMk id="5" creationId="{F3459BE7-1731-4733-A912-12977C68CFD6}"/>
          </ac:spMkLst>
        </pc:spChg>
        <pc:picChg chg="add mod">
          <ac:chgData name="Thomas Stensitzki" userId="75cafe6b-2f2a-469b-85c4-eec3b9c972ba" providerId="ADAL" clId="{EF5284BB-E924-47D6-B186-EC378FA380D2}" dt="2023-05-25T11:24:57.393" v="4641" actId="1076"/>
          <ac:picMkLst>
            <pc:docMk/>
            <pc:sldMk cId="2698998357" sldId="260"/>
            <ac:picMk id="2" creationId="{2D4F20BA-957A-E4A8-5973-4395A784304B}"/>
          </ac:picMkLst>
        </pc:picChg>
      </pc:sldChg>
      <pc:sldChg chg="addSp modSp mod">
        <pc:chgData name="Thomas Stensitzki" userId="75cafe6b-2f2a-469b-85c4-eec3b9c972ba" providerId="ADAL" clId="{EF5284BB-E924-47D6-B186-EC378FA380D2}" dt="2023-05-25T11:25:05.591" v="4642"/>
        <pc:sldMkLst>
          <pc:docMk/>
          <pc:sldMk cId="4007670073" sldId="268"/>
        </pc:sldMkLst>
        <pc:spChg chg="mod">
          <ac:chgData name="Thomas Stensitzki" userId="75cafe6b-2f2a-469b-85c4-eec3b9c972ba" providerId="ADAL" clId="{EF5284BB-E924-47D6-B186-EC378FA380D2}" dt="2023-05-05T13:33:57.816" v="185" actId="6549"/>
          <ac:spMkLst>
            <pc:docMk/>
            <pc:sldMk cId="4007670073" sldId="268"/>
            <ac:spMk id="5" creationId="{F3459BE7-1731-4733-A912-12977C68CFD6}"/>
          </ac:spMkLst>
        </pc:spChg>
        <pc:picChg chg="add mod">
          <ac:chgData name="Thomas Stensitzki" userId="75cafe6b-2f2a-469b-85c4-eec3b9c972ba" providerId="ADAL" clId="{EF5284BB-E924-47D6-B186-EC378FA380D2}" dt="2023-05-25T11:25:05.591" v="4642"/>
          <ac:picMkLst>
            <pc:docMk/>
            <pc:sldMk cId="4007670073" sldId="268"/>
            <ac:picMk id="3" creationId="{9CE283F6-AC42-BB12-8269-56DA34520BEB}"/>
          </ac:picMkLst>
        </pc:picChg>
      </pc:sldChg>
      <pc:sldChg chg="modSp mod modShow">
        <pc:chgData name="Thomas Stensitzki" userId="75cafe6b-2f2a-469b-85c4-eec3b9c972ba" providerId="ADAL" clId="{EF5284BB-E924-47D6-B186-EC378FA380D2}" dt="2023-05-25T15:52:22.583" v="5170" actId="729"/>
        <pc:sldMkLst>
          <pc:docMk/>
          <pc:sldMk cId="2721051844" sldId="269"/>
        </pc:sldMkLst>
        <pc:spChg chg="mod">
          <ac:chgData name="Thomas Stensitzki" userId="75cafe6b-2f2a-469b-85c4-eec3b9c972ba" providerId="ADAL" clId="{EF5284BB-E924-47D6-B186-EC378FA380D2}" dt="2023-04-22T12:48:42.474" v="20" actId="3626"/>
          <ac:spMkLst>
            <pc:docMk/>
            <pc:sldMk cId="2721051844" sldId="269"/>
            <ac:spMk id="5" creationId="{C24DACB5-1BEC-4C86-9652-BAFD8DE56FEF}"/>
          </ac:spMkLst>
        </pc:spChg>
      </pc:sldChg>
      <pc:sldChg chg="modSp mod">
        <pc:chgData name="Thomas Stensitzki" userId="75cafe6b-2f2a-469b-85c4-eec3b9c972ba" providerId="ADAL" clId="{EF5284BB-E924-47D6-B186-EC378FA380D2}" dt="2023-05-16T14:30:56.347" v="2648"/>
        <pc:sldMkLst>
          <pc:docMk/>
          <pc:sldMk cId="2227487991" sldId="378"/>
        </pc:sldMkLst>
        <pc:spChg chg="mod">
          <ac:chgData name="Thomas Stensitzki" userId="75cafe6b-2f2a-469b-85c4-eec3b9c972ba" providerId="ADAL" clId="{EF5284BB-E924-47D6-B186-EC378FA380D2}" dt="2023-05-16T13:54:32.987" v="2420" actId="1035"/>
          <ac:spMkLst>
            <pc:docMk/>
            <pc:sldMk cId="2227487991" sldId="378"/>
            <ac:spMk id="2" creationId="{909DC09D-B9A6-4493-9A72-1CA7ECB1F5CA}"/>
          </ac:spMkLst>
        </pc:spChg>
        <pc:spChg chg="mod">
          <ac:chgData name="Thomas Stensitzki" userId="75cafe6b-2f2a-469b-85c4-eec3b9c972ba" providerId="ADAL" clId="{EF5284BB-E924-47D6-B186-EC378FA380D2}" dt="2023-05-16T14:30:56.347" v="2648"/>
          <ac:spMkLst>
            <pc:docMk/>
            <pc:sldMk cId="2227487991" sldId="378"/>
            <ac:spMk id="5" creationId="{C24DACB5-1BEC-4C86-9652-BAFD8DE56FEF}"/>
          </ac:spMkLst>
        </pc:spChg>
      </pc:sldChg>
      <pc:sldChg chg="modSp mod modNotesTx">
        <pc:chgData name="Thomas Stensitzki" userId="75cafe6b-2f2a-469b-85c4-eec3b9c972ba" providerId="ADAL" clId="{EF5284BB-E924-47D6-B186-EC378FA380D2}" dt="2023-05-25T08:52:29.966" v="3982" actId="6549"/>
        <pc:sldMkLst>
          <pc:docMk/>
          <pc:sldMk cId="3797754622" sldId="515"/>
        </pc:sldMkLst>
        <pc:spChg chg="mod">
          <ac:chgData name="Thomas Stensitzki" userId="75cafe6b-2f2a-469b-85c4-eec3b9c972ba" providerId="ADAL" clId="{EF5284BB-E924-47D6-B186-EC378FA380D2}" dt="2023-05-25T08:49:25.540" v="3940" actId="14100"/>
          <ac:spMkLst>
            <pc:docMk/>
            <pc:sldMk cId="3797754622" sldId="515"/>
            <ac:spMk id="2" creationId="{909DC09D-B9A6-4493-9A72-1CA7ECB1F5CA}"/>
          </ac:spMkLst>
        </pc:spChg>
        <pc:spChg chg="mod">
          <ac:chgData name="Thomas Stensitzki" userId="75cafe6b-2f2a-469b-85c4-eec3b9c972ba" providerId="ADAL" clId="{EF5284BB-E924-47D6-B186-EC378FA380D2}" dt="2023-05-25T08:49:15.100" v="3936" actId="255"/>
          <ac:spMkLst>
            <pc:docMk/>
            <pc:sldMk cId="3797754622" sldId="515"/>
            <ac:spMk id="5" creationId="{C24DACB5-1BEC-4C86-9652-BAFD8DE56FEF}"/>
          </ac:spMkLst>
        </pc:spChg>
      </pc:sldChg>
      <pc:sldChg chg="addSp modSp mod">
        <pc:chgData name="Thomas Stensitzki" userId="75cafe6b-2f2a-469b-85c4-eec3b9c972ba" providerId="ADAL" clId="{EF5284BB-E924-47D6-B186-EC378FA380D2}" dt="2023-05-25T11:09:52.973" v="4316" actId="1076"/>
        <pc:sldMkLst>
          <pc:docMk/>
          <pc:sldMk cId="2791634409" sldId="560"/>
        </pc:sldMkLst>
        <pc:picChg chg="add mod">
          <ac:chgData name="Thomas Stensitzki" userId="75cafe6b-2f2a-469b-85c4-eec3b9c972ba" providerId="ADAL" clId="{EF5284BB-E924-47D6-B186-EC378FA380D2}" dt="2023-05-25T11:09:52.973" v="4316" actId="1076"/>
          <ac:picMkLst>
            <pc:docMk/>
            <pc:sldMk cId="2791634409" sldId="560"/>
            <ac:picMk id="3" creationId="{1D717E81-E6CC-BDE9-9A9C-D2158447BB7A}"/>
          </ac:picMkLst>
        </pc:picChg>
      </pc:sldChg>
      <pc:sldChg chg="del">
        <pc:chgData name="Thomas Stensitzki" userId="75cafe6b-2f2a-469b-85c4-eec3b9c972ba" providerId="ADAL" clId="{EF5284BB-E924-47D6-B186-EC378FA380D2}" dt="2023-04-22T12:48:47.770" v="21" actId="2696"/>
        <pc:sldMkLst>
          <pc:docMk/>
          <pc:sldMk cId="1728515471" sldId="561"/>
        </pc:sldMkLst>
      </pc:sldChg>
      <pc:sldChg chg="addSp modSp mod">
        <pc:chgData name="Thomas Stensitzki" userId="75cafe6b-2f2a-469b-85c4-eec3b9c972ba" providerId="ADAL" clId="{EF5284BB-E924-47D6-B186-EC378FA380D2}" dt="2023-05-25T11:25:12.398" v="4643"/>
        <pc:sldMkLst>
          <pc:docMk/>
          <pc:sldMk cId="1962477249" sldId="659"/>
        </pc:sldMkLst>
        <pc:spChg chg="mod">
          <ac:chgData name="Thomas Stensitzki" userId="75cafe6b-2f2a-469b-85c4-eec3b9c972ba" providerId="ADAL" clId="{EF5284BB-E924-47D6-B186-EC378FA380D2}" dt="2023-05-05T13:34:05.865" v="187" actId="6549"/>
          <ac:spMkLst>
            <pc:docMk/>
            <pc:sldMk cId="1962477249" sldId="659"/>
            <ac:spMk id="5" creationId="{F3459BE7-1731-4733-A912-12977C68CFD6}"/>
          </ac:spMkLst>
        </pc:spChg>
        <pc:picChg chg="add mod">
          <ac:chgData name="Thomas Stensitzki" userId="75cafe6b-2f2a-469b-85c4-eec3b9c972ba" providerId="ADAL" clId="{EF5284BB-E924-47D6-B186-EC378FA380D2}" dt="2023-05-25T11:25:12.398" v="4643"/>
          <ac:picMkLst>
            <pc:docMk/>
            <pc:sldMk cId="1962477249" sldId="659"/>
            <ac:picMk id="3" creationId="{C61DC060-45E2-C7DD-1E04-4E20BAFB2FFA}"/>
          </ac:picMkLst>
        </pc:picChg>
      </pc:sldChg>
      <pc:sldChg chg="del">
        <pc:chgData name="Thomas Stensitzki" userId="75cafe6b-2f2a-469b-85c4-eec3b9c972ba" providerId="ADAL" clId="{EF5284BB-E924-47D6-B186-EC378FA380D2}" dt="2023-04-22T12:48:27.349" v="16" actId="47"/>
        <pc:sldMkLst>
          <pc:docMk/>
          <pc:sldMk cId="1307406210" sldId="660"/>
        </pc:sldMkLst>
      </pc:sldChg>
      <pc:sldChg chg="add mod modShow">
        <pc:chgData name="Thomas Stensitzki" userId="75cafe6b-2f2a-469b-85c4-eec3b9c972ba" providerId="ADAL" clId="{EF5284BB-E924-47D6-B186-EC378FA380D2}" dt="2023-05-05T13:31:07.386" v="33" actId="729"/>
        <pc:sldMkLst>
          <pc:docMk/>
          <pc:sldMk cId="2553020497" sldId="660"/>
        </pc:sldMkLst>
      </pc:sldChg>
      <pc:sldChg chg="del">
        <pc:chgData name="Thomas Stensitzki" userId="75cafe6b-2f2a-469b-85c4-eec3b9c972ba" providerId="ADAL" clId="{EF5284BB-E924-47D6-B186-EC378FA380D2}" dt="2023-04-22T12:48:27.349" v="16" actId="47"/>
        <pc:sldMkLst>
          <pc:docMk/>
          <pc:sldMk cId="3311861693" sldId="661"/>
        </pc:sldMkLst>
      </pc:sldChg>
      <pc:sldChg chg="addSp modSp add mod ord">
        <pc:chgData name="Thomas Stensitzki" userId="75cafe6b-2f2a-469b-85c4-eec3b9c972ba" providerId="ADAL" clId="{EF5284BB-E924-47D6-B186-EC378FA380D2}" dt="2023-05-25T11:25:18.142" v="4644"/>
        <pc:sldMkLst>
          <pc:docMk/>
          <pc:sldMk cId="4212332529" sldId="661"/>
        </pc:sldMkLst>
        <pc:spChg chg="mod">
          <ac:chgData name="Thomas Stensitzki" userId="75cafe6b-2f2a-469b-85c4-eec3b9c972ba" providerId="ADAL" clId="{EF5284BB-E924-47D6-B186-EC378FA380D2}" dt="2023-05-05T13:34:58.783" v="226" actId="20577"/>
          <ac:spMkLst>
            <pc:docMk/>
            <pc:sldMk cId="4212332529" sldId="661"/>
            <ac:spMk id="4" creationId="{F3A15CBD-C746-44A3-A4F0-4898CE2F02E6}"/>
          </ac:spMkLst>
        </pc:spChg>
        <pc:spChg chg="mod">
          <ac:chgData name="Thomas Stensitzki" userId="75cafe6b-2f2a-469b-85c4-eec3b9c972ba" providerId="ADAL" clId="{EF5284BB-E924-47D6-B186-EC378FA380D2}" dt="2023-05-05T13:35:15.856" v="295" actId="6549"/>
          <ac:spMkLst>
            <pc:docMk/>
            <pc:sldMk cId="4212332529" sldId="661"/>
            <ac:spMk id="5" creationId="{F3459BE7-1731-4733-A912-12977C68CFD6}"/>
          </ac:spMkLst>
        </pc:spChg>
        <pc:picChg chg="add mod">
          <ac:chgData name="Thomas Stensitzki" userId="75cafe6b-2f2a-469b-85c4-eec3b9c972ba" providerId="ADAL" clId="{EF5284BB-E924-47D6-B186-EC378FA380D2}" dt="2023-05-25T11:25:18.142" v="4644"/>
          <ac:picMkLst>
            <pc:docMk/>
            <pc:sldMk cId="4212332529" sldId="661"/>
            <ac:picMk id="2" creationId="{8ABE994D-B550-9FCC-E7C1-ECE0C1DCC1FF}"/>
          </ac:picMkLst>
        </pc:picChg>
      </pc:sldChg>
      <pc:sldChg chg="del">
        <pc:chgData name="Thomas Stensitzki" userId="75cafe6b-2f2a-469b-85c4-eec3b9c972ba" providerId="ADAL" clId="{EF5284BB-E924-47D6-B186-EC378FA380D2}" dt="2023-04-22T12:48:08.972" v="14" actId="47"/>
        <pc:sldMkLst>
          <pc:docMk/>
          <pc:sldMk cId="561974499" sldId="662"/>
        </pc:sldMkLst>
      </pc:sldChg>
      <pc:sldChg chg="addSp delSp modSp new mod modClrScheme chgLayout">
        <pc:chgData name="Thomas Stensitzki" userId="75cafe6b-2f2a-469b-85c4-eec3b9c972ba" providerId="ADAL" clId="{EF5284BB-E924-47D6-B186-EC378FA380D2}" dt="2023-05-14T13:10:12.331" v="910" actId="20577"/>
        <pc:sldMkLst>
          <pc:docMk/>
          <pc:sldMk cId="3400462124" sldId="662"/>
        </pc:sldMkLst>
        <pc:spChg chg="del mod ord">
          <ac:chgData name="Thomas Stensitzki" userId="75cafe6b-2f2a-469b-85c4-eec3b9c972ba" providerId="ADAL" clId="{EF5284BB-E924-47D6-B186-EC378FA380D2}" dt="2023-05-05T13:36:54.987" v="297" actId="700"/>
          <ac:spMkLst>
            <pc:docMk/>
            <pc:sldMk cId="3400462124" sldId="662"/>
            <ac:spMk id="2" creationId="{CEA95662-794B-C67A-0630-883E901167BB}"/>
          </ac:spMkLst>
        </pc:spChg>
        <pc:spChg chg="del mod ord">
          <ac:chgData name="Thomas Stensitzki" userId="75cafe6b-2f2a-469b-85c4-eec3b9c972ba" providerId="ADAL" clId="{EF5284BB-E924-47D6-B186-EC378FA380D2}" dt="2023-05-05T13:36:54.987" v="297" actId="700"/>
          <ac:spMkLst>
            <pc:docMk/>
            <pc:sldMk cId="3400462124" sldId="662"/>
            <ac:spMk id="3" creationId="{80C27109-BE45-08B8-E05B-ADE006E84604}"/>
          </ac:spMkLst>
        </pc:spChg>
        <pc:spChg chg="add mod ord">
          <ac:chgData name="Thomas Stensitzki" userId="75cafe6b-2f2a-469b-85c4-eec3b9c972ba" providerId="ADAL" clId="{EF5284BB-E924-47D6-B186-EC378FA380D2}" dt="2023-05-05T13:37:00.372" v="317" actId="20577"/>
          <ac:spMkLst>
            <pc:docMk/>
            <pc:sldMk cId="3400462124" sldId="662"/>
            <ac:spMk id="4" creationId="{A1DC0E2E-74E0-3BC5-72ED-E30800A4AA48}"/>
          </ac:spMkLst>
        </pc:spChg>
        <pc:spChg chg="add mod ord">
          <ac:chgData name="Thomas Stensitzki" userId="75cafe6b-2f2a-469b-85c4-eec3b9c972ba" providerId="ADAL" clId="{EF5284BB-E924-47D6-B186-EC378FA380D2}" dt="2023-05-14T13:10:12.331" v="910" actId="20577"/>
          <ac:spMkLst>
            <pc:docMk/>
            <pc:sldMk cId="3400462124" sldId="662"/>
            <ac:spMk id="5" creationId="{E7E44277-3BFB-F197-AA87-8A0AE4DCEB5D}"/>
          </ac:spMkLst>
        </pc:spChg>
      </pc:sldChg>
      <pc:sldChg chg="del">
        <pc:chgData name="Thomas Stensitzki" userId="75cafe6b-2f2a-469b-85c4-eec3b9c972ba" providerId="ADAL" clId="{EF5284BB-E924-47D6-B186-EC378FA380D2}" dt="2023-04-22T12:48:08.972" v="14" actId="47"/>
        <pc:sldMkLst>
          <pc:docMk/>
          <pc:sldMk cId="102271189" sldId="663"/>
        </pc:sldMkLst>
      </pc:sldChg>
      <pc:sldChg chg="addSp delSp modSp new mod modClrScheme modAnim chgLayout">
        <pc:chgData name="Thomas Stensitzki" userId="75cafe6b-2f2a-469b-85c4-eec3b9c972ba" providerId="ADAL" clId="{EF5284BB-E924-47D6-B186-EC378FA380D2}" dt="2023-05-25T09:03:04.546" v="4012"/>
        <pc:sldMkLst>
          <pc:docMk/>
          <pc:sldMk cId="3908660988" sldId="663"/>
        </pc:sldMkLst>
        <pc:spChg chg="del mod ord">
          <ac:chgData name="Thomas Stensitzki" userId="75cafe6b-2f2a-469b-85c4-eec3b9c972ba" providerId="ADAL" clId="{EF5284BB-E924-47D6-B186-EC378FA380D2}" dt="2023-05-05T13:37:12.891" v="319" actId="700"/>
          <ac:spMkLst>
            <pc:docMk/>
            <pc:sldMk cId="3908660988" sldId="663"/>
            <ac:spMk id="2" creationId="{2636A305-A3A2-D4FA-B776-9B637C29CE35}"/>
          </ac:spMkLst>
        </pc:spChg>
        <pc:spChg chg="del mod ord">
          <ac:chgData name="Thomas Stensitzki" userId="75cafe6b-2f2a-469b-85c4-eec3b9c972ba" providerId="ADAL" clId="{EF5284BB-E924-47D6-B186-EC378FA380D2}" dt="2023-05-05T13:37:12.891" v="319" actId="700"/>
          <ac:spMkLst>
            <pc:docMk/>
            <pc:sldMk cId="3908660988" sldId="663"/>
            <ac:spMk id="3" creationId="{052E4D58-0EA2-F0A8-ACAB-CA2348254226}"/>
          </ac:spMkLst>
        </pc:spChg>
        <pc:spChg chg="add mod ord">
          <ac:chgData name="Thomas Stensitzki" userId="75cafe6b-2f2a-469b-85c4-eec3b9c972ba" providerId="ADAL" clId="{EF5284BB-E924-47D6-B186-EC378FA380D2}" dt="2023-05-05T13:37:21.576" v="341" actId="20577"/>
          <ac:spMkLst>
            <pc:docMk/>
            <pc:sldMk cId="3908660988" sldId="663"/>
            <ac:spMk id="4" creationId="{8B57E8B7-21F9-9C4A-F688-BE94D27A5606}"/>
          </ac:spMkLst>
        </pc:spChg>
        <pc:spChg chg="add mod ord">
          <ac:chgData name="Thomas Stensitzki" userId="75cafe6b-2f2a-469b-85c4-eec3b9c972ba" providerId="ADAL" clId="{EF5284BB-E924-47D6-B186-EC378FA380D2}" dt="2023-05-22T14:48:03.790" v="3076" actId="20577"/>
          <ac:spMkLst>
            <pc:docMk/>
            <pc:sldMk cId="3908660988" sldId="663"/>
            <ac:spMk id="5" creationId="{625FA0D5-DCEE-2BAB-6DA2-F7B27428066F}"/>
          </ac:spMkLst>
        </pc:spChg>
      </pc:sldChg>
      <pc:sldChg chg="del">
        <pc:chgData name="Thomas Stensitzki" userId="75cafe6b-2f2a-469b-85c4-eec3b9c972ba" providerId="ADAL" clId="{EF5284BB-E924-47D6-B186-EC378FA380D2}" dt="2023-04-22T12:48:08.972" v="14" actId="47"/>
        <pc:sldMkLst>
          <pc:docMk/>
          <pc:sldMk cId="754705698" sldId="664"/>
        </pc:sldMkLst>
      </pc:sldChg>
      <pc:sldChg chg="addSp delSp modSp new mod modClrScheme chgLayout">
        <pc:chgData name="Thomas Stensitzki" userId="75cafe6b-2f2a-469b-85c4-eec3b9c972ba" providerId="ADAL" clId="{EF5284BB-E924-47D6-B186-EC378FA380D2}" dt="2023-05-25T14:47:02.428" v="5067" actId="1076"/>
        <pc:sldMkLst>
          <pc:docMk/>
          <pc:sldMk cId="1830824739" sldId="664"/>
        </pc:sldMkLst>
        <pc:spChg chg="del mod ord">
          <ac:chgData name="Thomas Stensitzki" userId="75cafe6b-2f2a-469b-85c4-eec3b9c972ba" providerId="ADAL" clId="{EF5284BB-E924-47D6-B186-EC378FA380D2}" dt="2023-05-05T13:37:32.166" v="343" actId="700"/>
          <ac:spMkLst>
            <pc:docMk/>
            <pc:sldMk cId="1830824739" sldId="664"/>
            <ac:spMk id="2" creationId="{CF713D5A-58F3-D04A-4F3A-7639578A1345}"/>
          </ac:spMkLst>
        </pc:spChg>
        <pc:spChg chg="del mod ord">
          <ac:chgData name="Thomas Stensitzki" userId="75cafe6b-2f2a-469b-85c4-eec3b9c972ba" providerId="ADAL" clId="{EF5284BB-E924-47D6-B186-EC378FA380D2}" dt="2023-05-05T13:37:32.166" v="343" actId="700"/>
          <ac:spMkLst>
            <pc:docMk/>
            <pc:sldMk cId="1830824739" sldId="664"/>
            <ac:spMk id="3" creationId="{7EDABC3B-EC74-5617-7C84-63A99711CBDF}"/>
          </ac:spMkLst>
        </pc:spChg>
        <pc:spChg chg="add mod ord">
          <ac:chgData name="Thomas Stensitzki" userId="75cafe6b-2f2a-469b-85c4-eec3b9c972ba" providerId="ADAL" clId="{EF5284BB-E924-47D6-B186-EC378FA380D2}" dt="2023-05-05T13:37:34.938" v="347" actId="20577"/>
          <ac:spMkLst>
            <pc:docMk/>
            <pc:sldMk cId="1830824739" sldId="664"/>
            <ac:spMk id="4" creationId="{18422859-2D8A-5BA0-AA13-599BA873DB50}"/>
          </ac:spMkLst>
        </pc:spChg>
        <pc:spChg chg="add mod ord">
          <ac:chgData name="Thomas Stensitzki" userId="75cafe6b-2f2a-469b-85c4-eec3b9c972ba" providerId="ADAL" clId="{EF5284BB-E924-47D6-B186-EC378FA380D2}" dt="2023-05-05T13:37:41.380" v="364" actId="20577"/>
          <ac:spMkLst>
            <pc:docMk/>
            <pc:sldMk cId="1830824739" sldId="664"/>
            <ac:spMk id="5" creationId="{1E1DE4E1-A74E-A899-8E71-F5CA4B44F1A5}"/>
          </ac:spMkLst>
        </pc:spChg>
        <pc:picChg chg="add mod">
          <ac:chgData name="Thomas Stensitzki" userId="75cafe6b-2f2a-469b-85c4-eec3b9c972ba" providerId="ADAL" clId="{EF5284BB-E924-47D6-B186-EC378FA380D2}" dt="2023-05-25T14:47:02.428" v="5067" actId="1076"/>
          <ac:picMkLst>
            <pc:docMk/>
            <pc:sldMk cId="1830824739" sldId="664"/>
            <ac:picMk id="3" creationId="{9978F4A4-5D9A-3568-EE56-A5217624703F}"/>
          </ac:picMkLst>
        </pc:picChg>
      </pc:sldChg>
      <pc:sldChg chg="modSp add mod modAnim">
        <pc:chgData name="Thomas Stensitzki" userId="75cafe6b-2f2a-469b-85c4-eec3b9c972ba" providerId="ADAL" clId="{EF5284BB-E924-47D6-B186-EC378FA380D2}" dt="2023-05-25T15:44:38.233" v="5122" actId="6549"/>
        <pc:sldMkLst>
          <pc:docMk/>
          <pc:sldMk cId="923570546" sldId="665"/>
        </pc:sldMkLst>
        <pc:spChg chg="mod">
          <ac:chgData name="Thomas Stensitzki" userId="75cafe6b-2f2a-469b-85c4-eec3b9c972ba" providerId="ADAL" clId="{EF5284BB-E924-47D6-B186-EC378FA380D2}" dt="2023-05-14T13:14:38.215" v="1248" actId="20577"/>
          <ac:spMkLst>
            <pc:docMk/>
            <pc:sldMk cId="923570546" sldId="665"/>
            <ac:spMk id="4" creationId="{8B57E8B7-21F9-9C4A-F688-BE94D27A5606}"/>
          </ac:spMkLst>
        </pc:spChg>
        <pc:spChg chg="mod">
          <ac:chgData name="Thomas Stensitzki" userId="75cafe6b-2f2a-469b-85c4-eec3b9c972ba" providerId="ADAL" clId="{EF5284BB-E924-47D6-B186-EC378FA380D2}" dt="2023-05-25T15:44:38.233" v="5122" actId="6549"/>
          <ac:spMkLst>
            <pc:docMk/>
            <pc:sldMk cId="923570546" sldId="665"/>
            <ac:spMk id="5" creationId="{625FA0D5-DCEE-2BAB-6DA2-F7B27428066F}"/>
          </ac:spMkLst>
        </pc:spChg>
      </pc:sldChg>
      <pc:sldChg chg="del">
        <pc:chgData name="Thomas Stensitzki" userId="75cafe6b-2f2a-469b-85c4-eec3b9c972ba" providerId="ADAL" clId="{EF5284BB-E924-47D6-B186-EC378FA380D2}" dt="2023-04-22T12:48:15.704" v="15" actId="47"/>
        <pc:sldMkLst>
          <pc:docMk/>
          <pc:sldMk cId="3467690866" sldId="665"/>
        </pc:sldMkLst>
      </pc:sldChg>
      <pc:sldChg chg="del">
        <pc:chgData name="Thomas Stensitzki" userId="75cafe6b-2f2a-469b-85c4-eec3b9c972ba" providerId="ADAL" clId="{EF5284BB-E924-47D6-B186-EC378FA380D2}" dt="2023-04-22T12:48:27.349" v="16" actId="47"/>
        <pc:sldMkLst>
          <pc:docMk/>
          <pc:sldMk cId="1478336555" sldId="666"/>
        </pc:sldMkLst>
      </pc:sldChg>
      <pc:sldChg chg="addSp delSp modSp new mod modClrScheme chgLayout modNotesTx">
        <pc:chgData name="Thomas Stensitzki" userId="75cafe6b-2f2a-469b-85c4-eec3b9c972ba" providerId="ADAL" clId="{EF5284BB-E924-47D6-B186-EC378FA380D2}" dt="2023-05-25T10:53:23.995" v="4269" actId="6549"/>
        <pc:sldMkLst>
          <pc:docMk/>
          <pc:sldMk cId="2929133666" sldId="666"/>
        </pc:sldMkLst>
        <pc:spChg chg="add mod">
          <ac:chgData name="Thomas Stensitzki" userId="75cafe6b-2f2a-469b-85c4-eec3b9c972ba" providerId="ADAL" clId="{EF5284BB-E924-47D6-B186-EC378FA380D2}" dt="2023-05-25T09:09:27.525" v="4081" actId="20577"/>
          <ac:spMkLst>
            <pc:docMk/>
            <pc:sldMk cId="2929133666" sldId="666"/>
            <ac:spMk id="2" creationId="{169B400C-33DC-82BA-98A2-3BA12ED9FA28}"/>
          </ac:spMkLst>
        </pc:spChg>
        <pc:spChg chg="del mod ord">
          <ac:chgData name="Thomas Stensitzki" userId="75cafe6b-2f2a-469b-85c4-eec3b9c972ba" providerId="ADAL" clId="{EF5284BB-E924-47D6-B186-EC378FA380D2}" dt="2023-05-05T13:42:06.958" v="484" actId="700"/>
          <ac:spMkLst>
            <pc:docMk/>
            <pc:sldMk cId="2929133666" sldId="666"/>
            <ac:spMk id="2" creationId="{1977D1D6-BFA9-856C-DA62-DB1A639AD46C}"/>
          </ac:spMkLst>
        </pc:spChg>
        <pc:spChg chg="del mod ord">
          <ac:chgData name="Thomas Stensitzki" userId="75cafe6b-2f2a-469b-85c4-eec3b9c972ba" providerId="ADAL" clId="{EF5284BB-E924-47D6-B186-EC378FA380D2}" dt="2023-05-05T13:42:06.958" v="484" actId="700"/>
          <ac:spMkLst>
            <pc:docMk/>
            <pc:sldMk cId="2929133666" sldId="666"/>
            <ac:spMk id="3" creationId="{026BAD66-5FC6-5EA8-42C3-10A56C0A80F9}"/>
          </ac:spMkLst>
        </pc:spChg>
        <pc:spChg chg="add mod ord">
          <ac:chgData name="Thomas Stensitzki" userId="75cafe6b-2f2a-469b-85c4-eec3b9c972ba" providerId="ADAL" clId="{EF5284BB-E924-47D6-B186-EC378FA380D2}" dt="2023-05-05T13:42:12.553" v="494" actId="20577"/>
          <ac:spMkLst>
            <pc:docMk/>
            <pc:sldMk cId="2929133666" sldId="666"/>
            <ac:spMk id="4" creationId="{9D4128E2-FBA7-900F-7B66-CEEBB9C7063C}"/>
          </ac:spMkLst>
        </pc:spChg>
        <pc:spChg chg="add mod ord">
          <ac:chgData name="Thomas Stensitzki" userId="75cafe6b-2f2a-469b-85c4-eec3b9c972ba" providerId="ADAL" clId="{EF5284BB-E924-47D6-B186-EC378FA380D2}" dt="2023-05-14T13:37:37.113" v="2112" actId="20577"/>
          <ac:spMkLst>
            <pc:docMk/>
            <pc:sldMk cId="2929133666" sldId="666"/>
            <ac:spMk id="5" creationId="{0C5A623D-94AE-2D59-FFE6-1DB4A44070C0}"/>
          </ac:spMkLst>
        </pc:spChg>
        <pc:picChg chg="mod">
          <ac:chgData name="Thomas Stensitzki" userId="75cafe6b-2f2a-469b-85c4-eec3b9c972ba" providerId="ADAL" clId="{EF5284BB-E924-47D6-B186-EC378FA380D2}" dt="2023-05-25T09:05:17.278" v="4048" actId="1035"/>
          <ac:picMkLst>
            <pc:docMk/>
            <pc:sldMk cId="2929133666" sldId="666"/>
            <ac:picMk id="6" creationId="{C8D4B2FE-EDD8-50E5-8B16-7E008C16F86F}"/>
          </ac:picMkLst>
        </pc:picChg>
      </pc:sldChg>
      <pc:sldChg chg="addSp delSp modSp new mod">
        <pc:chgData name="Thomas Stensitzki" userId="75cafe6b-2f2a-469b-85c4-eec3b9c972ba" providerId="ADAL" clId="{EF5284BB-E924-47D6-B186-EC378FA380D2}" dt="2023-05-14T13:16:14.120" v="1270"/>
        <pc:sldMkLst>
          <pc:docMk/>
          <pc:sldMk cId="3802477703" sldId="667"/>
        </pc:sldMkLst>
        <pc:spChg chg="mod">
          <ac:chgData name="Thomas Stensitzki" userId="75cafe6b-2f2a-469b-85c4-eec3b9c972ba" providerId="ADAL" clId="{EF5284BB-E924-47D6-B186-EC378FA380D2}" dt="2023-05-14T13:16:14.120" v="1270"/>
          <ac:spMkLst>
            <pc:docMk/>
            <pc:sldMk cId="3802477703" sldId="667"/>
            <ac:spMk id="2" creationId="{943B72FB-CB54-134D-1ABF-BCBFE774C15F}"/>
          </ac:spMkLst>
        </pc:spChg>
        <pc:spChg chg="del">
          <ac:chgData name="Thomas Stensitzki" userId="75cafe6b-2f2a-469b-85c4-eec3b9c972ba" providerId="ADAL" clId="{EF5284BB-E924-47D6-B186-EC378FA380D2}" dt="2023-05-05T13:49:41.352" v="807" actId="478"/>
          <ac:spMkLst>
            <pc:docMk/>
            <pc:sldMk cId="3802477703" sldId="667"/>
            <ac:spMk id="3" creationId="{591A6973-6760-BA6D-4064-29955362EF3A}"/>
          </ac:spMkLst>
        </pc:spChg>
        <pc:picChg chg="add mod">
          <ac:chgData name="Thomas Stensitzki" userId="75cafe6b-2f2a-469b-85c4-eec3b9c972ba" providerId="ADAL" clId="{EF5284BB-E924-47D6-B186-EC378FA380D2}" dt="2023-05-05T13:50:00.782" v="811" actId="1440"/>
          <ac:picMkLst>
            <pc:docMk/>
            <pc:sldMk cId="3802477703" sldId="667"/>
            <ac:picMk id="5" creationId="{59007772-8755-0B09-0B61-A2C5D858E370}"/>
          </ac:picMkLst>
        </pc:picChg>
      </pc:sldChg>
      <pc:sldChg chg="del">
        <pc:chgData name="Thomas Stensitzki" userId="75cafe6b-2f2a-469b-85c4-eec3b9c972ba" providerId="ADAL" clId="{EF5284BB-E924-47D6-B186-EC378FA380D2}" dt="2023-04-22T12:48:27.349" v="16" actId="47"/>
        <pc:sldMkLst>
          <pc:docMk/>
          <pc:sldMk cId="4080389735" sldId="667"/>
        </pc:sldMkLst>
      </pc:sldChg>
      <pc:sldChg chg="addSp delSp modSp add mod modAnim">
        <pc:chgData name="Thomas Stensitzki" userId="75cafe6b-2f2a-469b-85c4-eec3b9c972ba" providerId="ADAL" clId="{EF5284BB-E924-47D6-B186-EC378FA380D2}" dt="2023-05-25T09:03:49.146" v="4018" actId="1076"/>
        <pc:sldMkLst>
          <pc:docMk/>
          <pc:sldMk cId="1650060701" sldId="668"/>
        </pc:sldMkLst>
        <pc:spChg chg="mod">
          <ac:chgData name="Thomas Stensitzki" userId="75cafe6b-2f2a-469b-85c4-eec3b9c972ba" providerId="ADAL" clId="{EF5284BB-E924-47D6-B186-EC378FA380D2}" dt="2023-05-14T13:16:28.294" v="1271"/>
          <ac:spMkLst>
            <pc:docMk/>
            <pc:sldMk cId="1650060701" sldId="668"/>
            <ac:spMk id="2" creationId="{943B72FB-CB54-134D-1ABF-BCBFE774C15F}"/>
          </ac:spMkLst>
        </pc:spChg>
        <pc:spChg chg="add mod">
          <ac:chgData name="Thomas Stensitzki" userId="75cafe6b-2f2a-469b-85c4-eec3b9c972ba" providerId="ADAL" clId="{EF5284BB-E924-47D6-B186-EC378FA380D2}" dt="2023-05-25T09:03:49.146" v="4018" actId="1076"/>
          <ac:spMkLst>
            <pc:docMk/>
            <pc:sldMk cId="1650060701" sldId="668"/>
            <ac:spMk id="3" creationId="{25559C36-B7D6-A286-B2B5-CAD6A08041FD}"/>
          </ac:spMkLst>
        </pc:spChg>
        <pc:picChg chg="add del mod">
          <ac:chgData name="Thomas Stensitzki" userId="75cafe6b-2f2a-469b-85c4-eec3b9c972ba" providerId="ADAL" clId="{EF5284BB-E924-47D6-B186-EC378FA380D2}" dt="2023-05-14T13:19:57.028" v="1275" actId="478"/>
          <ac:picMkLst>
            <pc:docMk/>
            <pc:sldMk cId="1650060701" sldId="668"/>
            <ac:picMk id="4" creationId="{F9C9689B-8368-17C5-8AA3-DB0A0CA49F63}"/>
          </ac:picMkLst>
        </pc:picChg>
        <pc:picChg chg="del">
          <ac:chgData name="Thomas Stensitzki" userId="75cafe6b-2f2a-469b-85c4-eec3b9c972ba" providerId="ADAL" clId="{EF5284BB-E924-47D6-B186-EC378FA380D2}" dt="2023-05-14T13:15:45.494" v="1267" actId="478"/>
          <ac:picMkLst>
            <pc:docMk/>
            <pc:sldMk cId="1650060701" sldId="668"/>
            <ac:picMk id="5" creationId="{59007772-8755-0B09-0B61-A2C5D858E370}"/>
          </ac:picMkLst>
        </pc:picChg>
        <pc:picChg chg="add mod">
          <ac:chgData name="Thomas Stensitzki" userId="75cafe6b-2f2a-469b-85c4-eec3b9c972ba" providerId="ADAL" clId="{EF5284BB-E924-47D6-B186-EC378FA380D2}" dt="2023-05-14T13:20:07.026" v="1279" actId="1440"/>
          <ac:picMkLst>
            <pc:docMk/>
            <pc:sldMk cId="1650060701" sldId="668"/>
            <ac:picMk id="7" creationId="{553BAC5F-649A-BB54-81D4-FBA475E14471}"/>
          </ac:picMkLst>
        </pc:picChg>
      </pc:sldChg>
      <pc:sldChg chg="del">
        <pc:chgData name="Thomas Stensitzki" userId="75cafe6b-2f2a-469b-85c4-eec3b9c972ba" providerId="ADAL" clId="{EF5284BB-E924-47D6-B186-EC378FA380D2}" dt="2023-04-22T12:48:27.349" v="16" actId="47"/>
        <pc:sldMkLst>
          <pc:docMk/>
          <pc:sldMk cId="3202947217" sldId="668"/>
        </pc:sldMkLst>
      </pc:sldChg>
      <pc:sldChg chg="add del">
        <pc:chgData name="Thomas Stensitzki" userId="75cafe6b-2f2a-469b-85c4-eec3b9c972ba" providerId="ADAL" clId="{EF5284BB-E924-47D6-B186-EC378FA380D2}" dt="2023-05-14T13:20:34.373" v="1283" actId="47"/>
        <pc:sldMkLst>
          <pc:docMk/>
          <pc:sldMk cId="759036446" sldId="669"/>
        </pc:sldMkLst>
      </pc:sldChg>
      <pc:sldChg chg="del">
        <pc:chgData name="Thomas Stensitzki" userId="75cafe6b-2f2a-469b-85c4-eec3b9c972ba" providerId="ADAL" clId="{EF5284BB-E924-47D6-B186-EC378FA380D2}" dt="2023-04-22T12:48:27.349" v="16" actId="47"/>
        <pc:sldMkLst>
          <pc:docMk/>
          <pc:sldMk cId="2193982032" sldId="669"/>
        </pc:sldMkLst>
      </pc:sldChg>
      <pc:sldChg chg="del">
        <pc:chgData name="Thomas Stensitzki" userId="75cafe6b-2f2a-469b-85c4-eec3b9c972ba" providerId="ADAL" clId="{EF5284BB-E924-47D6-B186-EC378FA380D2}" dt="2023-04-22T12:48:15.704" v="15" actId="47"/>
        <pc:sldMkLst>
          <pc:docMk/>
          <pc:sldMk cId="122818087" sldId="670"/>
        </pc:sldMkLst>
      </pc:sldChg>
      <pc:sldChg chg="addSp modSp add mod modAnim">
        <pc:chgData name="Thomas Stensitzki" userId="75cafe6b-2f2a-469b-85c4-eec3b9c972ba" providerId="ADAL" clId="{EF5284BB-E924-47D6-B186-EC378FA380D2}" dt="2023-05-25T09:04:43.336" v="4027" actId="1076"/>
        <pc:sldMkLst>
          <pc:docMk/>
          <pc:sldMk cId="3682317345" sldId="670"/>
        </pc:sldMkLst>
        <pc:spChg chg="add mod">
          <ac:chgData name="Thomas Stensitzki" userId="75cafe6b-2f2a-469b-85c4-eec3b9c972ba" providerId="ADAL" clId="{EF5284BB-E924-47D6-B186-EC378FA380D2}" dt="2023-05-25T09:04:43.336" v="4027" actId="1076"/>
          <ac:spMkLst>
            <pc:docMk/>
            <pc:sldMk cId="3682317345" sldId="670"/>
            <ac:spMk id="6" creationId="{13A3C0CF-8A50-E43F-A1A2-D7B5CA420DDA}"/>
          </ac:spMkLst>
        </pc:spChg>
        <pc:spChg chg="add mod">
          <ac:chgData name="Thomas Stensitzki" userId="75cafe6b-2f2a-469b-85c4-eec3b9c972ba" providerId="ADAL" clId="{EF5284BB-E924-47D6-B186-EC378FA380D2}" dt="2023-05-25T09:04:06.577" v="4023" actId="1076"/>
          <ac:spMkLst>
            <pc:docMk/>
            <pc:sldMk cId="3682317345" sldId="670"/>
            <ac:spMk id="8" creationId="{B9541FF4-1E1F-33CC-18CC-1FB0E018F7D2}"/>
          </ac:spMkLst>
        </pc:spChg>
        <pc:picChg chg="add mod">
          <ac:chgData name="Thomas Stensitzki" userId="75cafe6b-2f2a-469b-85c4-eec3b9c972ba" providerId="ADAL" clId="{EF5284BB-E924-47D6-B186-EC378FA380D2}" dt="2023-05-25T09:04:39.910" v="4026" actId="1076"/>
          <ac:picMkLst>
            <pc:docMk/>
            <pc:sldMk cId="3682317345" sldId="670"/>
            <ac:picMk id="3" creationId="{81874EEF-EFDE-0FC8-6A52-AA7BDF521F73}"/>
          </ac:picMkLst>
        </pc:picChg>
        <pc:picChg chg="add mod">
          <ac:chgData name="Thomas Stensitzki" userId="75cafe6b-2f2a-469b-85c4-eec3b9c972ba" providerId="ADAL" clId="{EF5284BB-E924-47D6-B186-EC378FA380D2}" dt="2023-05-25T06:51:16.571" v="3149" actId="1076"/>
          <ac:picMkLst>
            <pc:docMk/>
            <pc:sldMk cId="3682317345" sldId="670"/>
            <ac:picMk id="5" creationId="{13A9BA71-8A61-6A65-BC74-6152C078D11E}"/>
          </ac:picMkLst>
        </pc:picChg>
      </pc:sldChg>
      <pc:sldChg chg="modSp add mod modAnim">
        <pc:chgData name="Thomas Stensitzki" userId="75cafe6b-2f2a-469b-85c4-eec3b9c972ba" providerId="ADAL" clId="{EF5284BB-E924-47D6-B186-EC378FA380D2}" dt="2023-05-25T15:46:52.546" v="5169" actId="20577"/>
        <pc:sldMkLst>
          <pc:docMk/>
          <pc:sldMk cId="2047617742" sldId="671"/>
        </pc:sldMkLst>
        <pc:spChg chg="mod">
          <ac:chgData name="Thomas Stensitzki" userId="75cafe6b-2f2a-469b-85c4-eec3b9c972ba" providerId="ADAL" clId="{EF5284BB-E924-47D6-B186-EC378FA380D2}" dt="2023-05-25T15:46:52.546" v="5169" actId="20577"/>
          <ac:spMkLst>
            <pc:docMk/>
            <pc:sldMk cId="2047617742" sldId="671"/>
            <ac:spMk id="5" creationId="{625FA0D5-DCEE-2BAB-6DA2-F7B27428066F}"/>
          </ac:spMkLst>
        </pc:spChg>
      </pc:sldChg>
      <pc:sldChg chg="del">
        <pc:chgData name="Thomas Stensitzki" userId="75cafe6b-2f2a-469b-85c4-eec3b9c972ba" providerId="ADAL" clId="{EF5284BB-E924-47D6-B186-EC378FA380D2}" dt="2023-04-22T12:48:27.349" v="16" actId="47"/>
        <pc:sldMkLst>
          <pc:docMk/>
          <pc:sldMk cId="2909463456" sldId="671"/>
        </pc:sldMkLst>
      </pc:sldChg>
      <pc:sldChg chg="del">
        <pc:chgData name="Thomas Stensitzki" userId="75cafe6b-2f2a-469b-85c4-eec3b9c972ba" providerId="ADAL" clId="{EF5284BB-E924-47D6-B186-EC378FA380D2}" dt="2023-04-22T12:48:27.349" v="16" actId="47"/>
        <pc:sldMkLst>
          <pc:docMk/>
          <pc:sldMk cId="1253155529" sldId="672"/>
        </pc:sldMkLst>
      </pc:sldChg>
      <pc:sldChg chg="modSp new mod ord">
        <pc:chgData name="Thomas Stensitzki" userId="75cafe6b-2f2a-469b-85c4-eec3b9c972ba" providerId="ADAL" clId="{EF5284BB-E924-47D6-B186-EC378FA380D2}" dt="2023-05-16T13:51:07.105" v="2387"/>
        <pc:sldMkLst>
          <pc:docMk/>
          <pc:sldMk cId="3858958038" sldId="672"/>
        </pc:sldMkLst>
        <pc:spChg chg="mod">
          <ac:chgData name="Thomas Stensitzki" userId="75cafe6b-2f2a-469b-85c4-eec3b9c972ba" providerId="ADAL" clId="{EF5284BB-E924-47D6-B186-EC378FA380D2}" dt="2023-05-16T13:48:29.307" v="2218"/>
          <ac:spMkLst>
            <pc:docMk/>
            <pc:sldMk cId="3858958038" sldId="672"/>
            <ac:spMk id="2" creationId="{CC2FA1F0-C051-0A08-64B3-9DF1B3898580}"/>
          </ac:spMkLst>
        </pc:spChg>
        <pc:spChg chg="mod">
          <ac:chgData name="Thomas Stensitzki" userId="75cafe6b-2f2a-469b-85c4-eec3b9c972ba" providerId="ADAL" clId="{EF5284BB-E924-47D6-B186-EC378FA380D2}" dt="2023-05-16T13:50:50.089" v="2383" actId="6549"/>
          <ac:spMkLst>
            <pc:docMk/>
            <pc:sldMk cId="3858958038" sldId="672"/>
            <ac:spMk id="3" creationId="{BCF3249D-EC3E-1C3C-4550-845B3E3A0527}"/>
          </ac:spMkLst>
        </pc:spChg>
      </pc:sldChg>
      <pc:sldChg chg="del">
        <pc:chgData name="Thomas Stensitzki" userId="75cafe6b-2f2a-469b-85c4-eec3b9c972ba" providerId="ADAL" clId="{EF5284BB-E924-47D6-B186-EC378FA380D2}" dt="2023-04-22T12:48:27.349" v="16" actId="47"/>
        <pc:sldMkLst>
          <pc:docMk/>
          <pc:sldMk cId="3265622204" sldId="673"/>
        </pc:sldMkLst>
      </pc:sldChg>
      <pc:sldChg chg="addSp delSp modSp new mod">
        <pc:chgData name="Thomas Stensitzki" userId="75cafe6b-2f2a-469b-85c4-eec3b9c972ba" providerId="ADAL" clId="{EF5284BB-E924-47D6-B186-EC378FA380D2}" dt="2023-05-25T11:22:51.146" v="4634" actId="1440"/>
        <pc:sldMkLst>
          <pc:docMk/>
          <pc:sldMk cId="3468202035" sldId="673"/>
        </pc:sldMkLst>
        <pc:spChg chg="mod">
          <ac:chgData name="Thomas Stensitzki" userId="75cafe6b-2f2a-469b-85c4-eec3b9c972ba" providerId="ADAL" clId="{EF5284BB-E924-47D6-B186-EC378FA380D2}" dt="2023-05-16T13:51:52.685" v="2396"/>
          <ac:spMkLst>
            <pc:docMk/>
            <pc:sldMk cId="3468202035" sldId="673"/>
            <ac:spMk id="2" creationId="{2267CE1F-D14D-08BA-6A1B-E8294D7B635F}"/>
          </ac:spMkLst>
        </pc:spChg>
        <pc:spChg chg="del">
          <ac:chgData name="Thomas Stensitzki" userId="75cafe6b-2f2a-469b-85c4-eec3b9c972ba" providerId="ADAL" clId="{EF5284BB-E924-47D6-B186-EC378FA380D2}" dt="2023-05-16T13:52:04.972" v="2397" actId="478"/>
          <ac:spMkLst>
            <pc:docMk/>
            <pc:sldMk cId="3468202035" sldId="673"/>
            <ac:spMk id="3" creationId="{C7AB64E4-7E90-2996-9870-3A318592F118}"/>
          </ac:spMkLst>
        </pc:spChg>
        <pc:picChg chg="add mod">
          <ac:chgData name="Thomas Stensitzki" userId="75cafe6b-2f2a-469b-85c4-eec3b9c972ba" providerId="ADAL" clId="{EF5284BB-E924-47D6-B186-EC378FA380D2}" dt="2023-05-25T11:22:51.146" v="4634" actId="1440"/>
          <ac:picMkLst>
            <pc:docMk/>
            <pc:sldMk cId="3468202035" sldId="673"/>
            <ac:picMk id="1026" creationId="{E60B728A-8511-B50B-FBEB-78DF08D2B4EF}"/>
          </ac:picMkLst>
        </pc:picChg>
      </pc:sldChg>
      <pc:sldChg chg="del">
        <pc:chgData name="Thomas Stensitzki" userId="75cafe6b-2f2a-469b-85c4-eec3b9c972ba" providerId="ADAL" clId="{EF5284BB-E924-47D6-B186-EC378FA380D2}" dt="2023-04-22T12:48:27.349" v="16" actId="47"/>
        <pc:sldMkLst>
          <pc:docMk/>
          <pc:sldMk cId="549057824" sldId="674"/>
        </pc:sldMkLst>
      </pc:sldChg>
      <pc:sldChg chg="addSp delSp modSp add">
        <pc:chgData name="Thomas Stensitzki" userId="75cafe6b-2f2a-469b-85c4-eec3b9c972ba" providerId="ADAL" clId="{EF5284BB-E924-47D6-B186-EC378FA380D2}" dt="2023-05-25T11:22:49.354" v="4633" actId="1440"/>
        <pc:sldMkLst>
          <pc:docMk/>
          <pc:sldMk cId="2327618361" sldId="674"/>
        </pc:sldMkLst>
        <pc:picChg chg="del">
          <ac:chgData name="Thomas Stensitzki" userId="75cafe6b-2f2a-469b-85c4-eec3b9c972ba" providerId="ADAL" clId="{EF5284BB-E924-47D6-B186-EC378FA380D2}" dt="2023-05-16T13:52:43.196" v="2408" actId="478"/>
          <ac:picMkLst>
            <pc:docMk/>
            <pc:sldMk cId="2327618361" sldId="674"/>
            <ac:picMk id="1026" creationId="{E60B728A-8511-B50B-FBEB-78DF08D2B4EF}"/>
          </ac:picMkLst>
        </pc:picChg>
        <pc:picChg chg="add mod">
          <ac:chgData name="Thomas Stensitzki" userId="75cafe6b-2f2a-469b-85c4-eec3b9c972ba" providerId="ADAL" clId="{EF5284BB-E924-47D6-B186-EC378FA380D2}" dt="2023-05-25T11:22:49.354" v="4633" actId="1440"/>
          <ac:picMkLst>
            <pc:docMk/>
            <pc:sldMk cId="2327618361" sldId="674"/>
            <ac:picMk id="2050" creationId="{D878693E-8782-6400-B4F0-A098857E2D76}"/>
          </ac:picMkLst>
        </pc:picChg>
      </pc:sldChg>
      <pc:sldChg chg="del">
        <pc:chgData name="Thomas Stensitzki" userId="75cafe6b-2f2a-469b-85c4-eec3b9c972ba" providerId="ADAL" clId="{EF5284BB-E924-47D6-B186-EC378FA380D2}" dt="2023-04-22T12:48:15.704" v="15" actId="47"/>
        <pc:sldMkLst>
          <pc:docMk/>
          <pc:sldMk cId="1757766559" sldId="675"/>
        </pc:sldMkLst>
      </pc:sldChg>
      <pc:sldChg chg="addSp delSp modSp add mod">
        <pc:chgData name="Thomas Stensitzki" userId="75cafe6b-2f2a-469b-85c4-eec3b9c972ba" providerId="ADAL" clId="{EF5284BB-E924-47D6-B186-EC378FA380D2}" dt="2023-05-25T11:22:47.840" v="4632" actId="1440"/>
        <pc:sldMkLst>
          <pc:docMk/>
          <pc:sldMk cId="1759168096" sldId="675"/>
        </pc:sldMkLst>
        <pc:spChg chg="add del">
          <ac:chgData name="Thomas Stensitzki" userId="75cafe6b-2f2a-469b-85c4-eec3b9c972ba" providerId="ADAL" clId="{EF5284BB-E924-47D6-B186-EC378FA380D2}" dt="2023-05-16T13:53:28.937" v="2411" actId="22"/>
          <ac:spMkLst>
            <pc:docMk/>
            <pc:sldMk cId="1759168096" sldId="675"/>
            <ac:spMk id="4" creationId="{A88B8F9B-1B6C-D974-4A5C-5D796EE9C1E8}"/>
          </ac:spMkLst>
        </pc:spChg>
        <pc:picChg chg="mod">
          <ac:chgData name="Thomas Stensitzki" userId="75cafe6b-2f2a-469b-85c4-eec3b9c972ba" providerId="ADAL" clId="{EF5284BB-E924-47D6-B186-EC378FA380D2}" dt="2023-05-25T11:22:47.840" v="4632" actId="1440"/>
          <ac:picMkLst>
            <pc:docMk/>
            <pc:sldMk cId="1759168096" sldId="675"/>
            <ac:picMk id="2050" creationId="{D878693E-8782-6400-B4F0-A098857E2D76}"/>
          </ac:picMkLst>
        </pc:picChg>
      </pc:sldChg>
      <pc:sldChg chg="modSp add">
        <pc:chgData name="Thomas Stensitzki" userId="75cafe6b-2f2a-469b-85c4-eec3b9c972ba" providerId="ADAL" clId="{EF5284BB-E924-47D6-B186-EC378FA380D2}" dt="2023-05-25T11:22:43.129" v="4631" actId="1440"/>
        <pc:sldMkLst>
          <pc:docMk/>
          <pc:sldMk cId="1298798883" sldId="676"/>
        </pc:sldMkLst>
        <pc:picChg chg="mod">
          <ac:chgData name="Thomas Stensitzki" userId="75cafe6b-2f2a-469b-85c4-eec3b9c972ba" providerId="ADAL" clId="{EF5284BB-E924-47D6-B186-EC378FA380D2}" dt="2023-05-25T11:22:43.129" v="4631" actId="1440"/>
          <ac:picMkLst>
            <pc:docMk/>
            <pc:sldMk cId="1298798883" sldId="676"/>
            <ac:picMk id="2050" creationId="{D878693E-8782-6400-B4F0-A098857E2D76}"/>
          </ac:picMkLst>
        </pc:picChg>
      </pc:sldChg>
      <pc:sldChg chg="del">
        <pc:chgData name="Thomas Stensitzki" userId="75cafe6b-2f2a-469b-85c4-eec3b9c972ba" providerId="ADAL" clId="{EF5284BB-E924-47D6-B186-EC378FA380D2}" dt="2023-04-22T12:48:27.349" v="16" actId="47"/>
        <pc:sldMkLst>
          <pc:docMk/>
          <pc:sldMk cId="2309531245" sldId="676"/>
        </pc:sldMkLst>
      </pc:sldChg>
      <pc:sldChg chg="modSp add del">
        <pc:chgData name="Thomas Stensitzki" userId="75cafe6b-2f2a-469b-85c4-eec3b9c972ba" providerId="ADAL" clId="{EF5284BB-E924-47D6-B186-EC378FA380D2}" dt="2023-05-25T11:14:59.485" v="4320" actId="2696"/>
        <pc:sldMkLst>
          <pc:docMk/>
          <pc:sldMk cId="548932751" sldId="677"/>
        </pc:sldMkLst>
        <pc:picChg chg="mod">
          <ac:chgData name="Thomas Stensitzki" userId="75cafe6b-2f2a-469b-85c4-eec3b9c972ba" providerId="ADAL" clId="{EF5284BB-E924-47D6-B186-EC378FA380D2}" dt="2023-05-25T11:14:38.554" v="4319" actId="1076"/>
          <ac:picMkLst>
            <pc:docMk/>
            <pc:sldMk cId="548932751" sldId="677"/>
            <ac:picMk id="2050" creationId="{D878693E-8782-6400-B4F0-A098857E2D76}"/>
          </ac:picMkLst>
        </pc:picChg>
      </pc:sldChg>
      <pc:sldChg chg="del">
        <pc:chgData name="Thomas Stensitzki" userId="75cafe6b-2f2a-469b-85c4-eec3b9c972ba" providerId="ADAL" clId="{EF5284BB-E924-47D6-B186-EC378FA380D2}" dt="2023-04-22T12:48:27.349" v="16" actId="47"/>
        <pc:sldMkLst>
          <pc:docMk/>
          <pc:sldMk cId="857527238" sldId="677"/>
        </pc:sldMkLst>
      </pc:sldChg>
      <pc:sldChg chg="del">
        <pc:chgData name="Thomas Stensitzki" userId="75cafe6b-2f2a-469b-85c4-eec3b9c972ba" providerId="ADAL" clId="{EF5284BB-E924-47D6-B186-EC378FA380D2}" dt="2023-04-22T12:48:27.349" v="16" actId="47"/>
        <pc:sldMkLst>
          <pc:docMk/>
          <pc:sldMk cId="2554844056" sldId="678"/>
        </pc:sldMkLst>
      </pc:sldChg>
      <pc:sldChg chg="addSp delSp modSp add mod modAnim">
        <pc:chgData name="Thomas Stensitzki" userId="75cafe6b-2f2a-469b-85c4-eec3b9c972ba" providerId="ADAL" clId="{EF5284BB-E924-47D6-B186-EC378FA380D2}" dt="2023-05-25T11:22:41.226" v="4630" actId="1440"/>
        <pc:sldMkLst>
          <pc:docMk/>
          <pc:sldMk cId="3589806354" sldId="678"/>
        </pc:sldMkLst>
        <pc:spChg chg="mod">
          <ac:chgData name="Thomas Stensitzki" userId="75cafe6b-2f2a-469b-85c4-eec3b9c972ba" providerId="ADAL" clId="{EF5284BB-E924-47D6-B186-EC378FA380D2}" dt="2023-05-16T13:56:20.151" v="2450" actId="20577"/>
          <ac:spMkLst>
            <pc:docMk/>
            <pc:sldMk cId="3589806354" sldId="678"/>
            <ac:spMk id="2" creationId="{2267CE1F-D14D-08BA-6A1B-E8294D7B635F}"/>
          </ac:spMkLst>
        </pc:spChg>
        <pc:spChg chg="add mod">
          <ac:chgData name="Thomas Stensitzki" userId="75cafe6b-2f2a-469b-85c4-eec3b9c972ba" providerId="ADAL" clId="{EF5284BB-E924-47D6-B186-EC378FA380D2}" dt="2023-05-25T11:16:21.181" v="4322" actId="1076"/>
          <ac:spMkLst>
            <pc:docMk/>
            <pc:sldMk cId="3589806354" sldId="678"/>
            <ac:spMk id="3" creationId="{A1A10B9C-8657-38A4-B4A0-CFFE82772F41}"/>
          </ac:spMkLst>
        </pc:spChg>
        <pc:spChg chg="add mod">
          <ac:chgData name="Thomas Stensitzki" userId="75cafe6b-2f2a-469b-85c4-eec3b9c972ba" providerId="ADAL" clId="{EF5284BB-E924-47D6-B186-EC378FA380D2}" dt="2023-05-25T11:16:29.285" v="4326" actId="1076"/>
          <ac:spMkLst>
            <pc:docMk/>
            <pc:sldMk cId="3589806354" sldId="678"/>
            <ac:spMk id="4" creationId="{9525AB6D-D787-A74B-8999-F8B743464E3F}"/>
          </ac:spMkLst>
        </pc:spChg>
        <pc:picChg chg="del">
          <ac:chgData name="Thomas Stensitzki" userId="75cafe6b-2f2a-469b-85c4-eec3b9c972ba" providerId="ADAL" clId="{EF5284BB-E924-47D6-B186-EC378FA380D2}" dt="2023-05-16T13:54:53.148" v="2424" actId="478"/>
          <ac:picMkLst>
            <pc:docMk/>
            <pc:sldMk cId="3589806354" sldId="678"/>
            <ac:picMk id="2050" creationId="{D878693E-8782-6400-B4F0-A098857E2D76}"/>
          </ac:picMkLst>
        </pc:picChg>
        <pc:picChg chg="add mod">
          <ac:chgData name="Thomas Stensitzki" userId="75cafe6b-2f2a-469b-85c4-eec3b9c972ba" providerId="ADAL" clId="{EF5284BB-E924-47D6-B186-EC378FA380D2}" dt="2023-05-25T11:22:41.226" v="4630" actId="1440"/>
          <ac:picMkLst>
            <pc:docMk/>
            <pc:sldMk cId="3589806354" sldId="678"/>
            <ac:picMk id="3074" creationId="{2130B75C-9C3B-00FC-6C5B-6BD75C6EC32A}"/>
          </ac:picMkLst>
        </pc:picChg>
      </pc:sldChg>
      <pc:sldChg chg="modSp add">
        <pc:chgData name="Thomas Stensitzki" userId="75cafe6b-2f2a-469b-85c4-eec3b9c972ba" providerId="ADAL" clId="{EF5284BB-E924-47D6-B186-EC378FA380D2}" dt="2023-05-25T11:22:38.533" v="4629" actId="1440"/>
        <pc:sldMkLst>
          <pc:docMk/>
          <pc:sldMk cId="3797094460" sldId="679"/>
        </pc:sldMkLst>
        <pc:picChg chg="mod">
          <ac:chgData name="Thomas Stensitzki" userId="75cafe6b-2f2a-469b-85c4-eec3b9c972ba" providerId="ADAL" clId="{EF5284BB-E924-47D6-B186-EC378FA380D2}" dt="2023-05-25T11:22:38.533" v="4629" actId="1440"/>
          <ac:picMkLst>
            <pc:docMk/>
            <pc:sldMk cId="3797094460" sldId="679"/>
            <ac:picMk id="3074" creationId="{2130B75C-9C3B-00FC-6C5B-6BD75C6EC32A}"/>
          </ac:picMkLst>
        </pc:picChg>
      </pc:sldChg>
      <pc:sldChg chg="del">
        <pc:chgData name="Thomas Stensitzki" userId="75cafe6b-2f2a-469b-85c4-eec3b9c972ba" providerId="ADAL" clId="{EF5284BB-E924-47D6-B186-EC378FA380D2}" dt="2023-04-22T12:48:27.349" v="16" actId="47"/>
        <pc:sldMkLst>
          <pc:docMk/>
          <pc:sldMk cId="3925627864" sldId="679"/>
        </pc:sldMkLst>
      </pc:sldChg>
      <pc:sldChg chg="addSp delSp modSp add mod modAnim modNotesTx">
        <pc:chgData name="Thomas Stensitzki" userId="75cafe6b-2f2a-469b-85c4-eec3b9c972ba" providerId="ADAL" clId="{EF5284BB-E924-47D6-B186-EC378FA380D2}" dt="2023-05-25T11:22:35.139" v="4628" actId="1440"/>
        <pc:sldMkLst>
          <pc:docMk/>
          <pc:sldMk cId="3004964480" sldId="680"/>
        </pc:sldMkLst>
        <pc:spChg chg="mod">
          <ac:chgData name="Thomas Stensitzki" userId="75cafe6b-2f2a-469b-85c4-eec3b9c972ba" providerId="ADAL" clId="{EF5284BB-E924-47D6-B186-EC378FA380D2}" dt="2023-05-16T13:57:42.940" v="2471"/>
          <ac:spMkLst>
            <pc:docMk/>
            <pc:sldMk cId="3004964480" sldId="680"/>
            <ac:spMk id="2" creationId="{2267CE1F-D14D-08BA-6A1B-E8294D7B635F}"/>
          </ac:spMkLst>
        </pc:spChg>
        <pc:spChg chg="add mod">
          <ac:chgData name="Thomas Stensitzki" userId="75cafe6b-2f2a-469b-85c4-eec3b9c972ba" providerId="ADAL" clId="{EF5284BB-E924-47D6-B186-EC378FA380D2}" dt="2023-05-25T11:17:06.243" v="4328" actId="1076"/>
          <ac:spMkLst>
            <pc:docMk/>
            <pc:sldMk cId="3004964480" sldId="680"/>
            <ac:spMk id="3" creationId="{203E6687-3CB7-4137-EE4B-726F3A601D6A}"/>
          </ac:spMkLst>
        </pc:spChg>
        <pc:spChg chg="add mod">
          <ac:chgData name="Thomas Stensitzki" userId="75cafe6b-2f2a-469b-85c4-eec3b9c972ba" providerId="ADAL" clId="{EF5284BB-E924-47D6-B186-EC378FA380D2}" dt="2023-05-25T11:17:28.379" v="4331" actId="1076"/>
          <ac:spMkLst>
            <pc:docMk/>
            <pc:sldMk cId="3004964480" sldId="680"/>
            <ac:spMk id="4" creationId="{794DA02E-B868-A144-6DD1-870D371D10D1}"/>
          </ac:spMkLst>
        </pc:spChg>
        <pc:picChg chg="del">
          <ac:chgData name="Thomas Stensitzki" userId="75cafe6b-2f2a-469b-85c4-eec3b9c972ba" providerId="ADAL" clId="{EF5284BB-E924-47D6-B186-EC378FA380D2}" dt="2023-05-16T13:57:44.624" v="2472" actId="478"/>
          <ac:picMkLst>
            <pc:docMk/>
            <pc:sldMk cId="3004964480" sldId="680"/>
            <ac:picMk id="3074" creationId="{2130B75C-9C3B-00FC-6C5B-6BD75C6EC32A}"/>
          </ac:picMkLst>
        </pc:picChg>
        <pc:picChg chg="add mod">
          <ac:chgData name="Thomas Stensitzki" userId="75cafe6b-2f2a-469b-85c4-eec3b9c972ba" providerId="ADAL" clId="{EF5284BB-E924-47D6-B186-EC378FA380D2}" dt="2023-05-25T11:22:35.139" v="4628" actId="1440"/>
          <ac:picMkLst>
            <pc:docMk/>
            <pc:sldMk cId="3004964480" sldId="680"/>
            <ac:picMk id="4098" creationId="{FB99E55D-5EB5-FEF5-8E50-DD55BE06C448}"/>
          </ac:picMkLst>
        </pc:picChg>
      </pc:sldChg>
      <pc:sldChg chg="del">
        <pc:chgData name="Thomas Stensitzki" userId="75cafe6b-2f2a-469b-85c4-eec3b9c972ba" providerId="ADAL" clId="{EF5284BB-E924-47D6-B186-EC378FA380D2}" dt="2023-04-22T12:48:27.349" v="16" actId="47"/>
        <pc:sldMkLst>
          <pc:docMk/>
          <pc:sldMk cId="3798798789" sldId="680"/>
        </pc:sldMkLst>
      </pc:sldChg>
      <pc:sldChg chg="addSp delSp modSp add mod modNotesTx">
        <pc:chgData name="Thomas Stensitzki" userId="75cafe6b-2f2a-469b-85c4-eec3b9c972ba" providerId="ADAL" clId="{EF5284BB-E924-47D6-B186-EC378FA380D2}" dt="2023-05-16T14:01:55.485" v="2501" actId="1076"/>
        <pc:sldMkLst>
          <pc:docMk/>
          <pc:sldMk cId="2318316286" sldId="681"/>
        </pc:sldMkLst>
        <pc:spChg chg="mod">
          <ac:chgData name="Thomas Stensitzki" userId="75cafe6b-2f2a-469b-85c4-eec3b9c972ba" providerId="ADAL" clId="{EF5284BB-E924-47D6-B186-EC378FA380D2}" dt="2023-05-16T14:00:40.544" v="2486"/>
          <ac:spMkLst>
            <pc:docMk/>
            <pc:sldMk cId="2318316286" sldId="681"/>
            <ac:spMk id="2" creationId="{2267CE1F-D14D-08BA-6A1B-E8294D7B635F}"/>
          </ac:spMkLst>
        </pc:spChg>
        <pc:picChg chg="del">
          <ac:chgData name="Thomas Stensitzki" userId="75cafe6b-2f2a-469b-85c4-eec3b9c972ba" providerId="ADAL" clId="{EF5284BB-E924-47D6-B186-EC378FA380D2}" dt="2023-05-16T14:00:41.915" v="2487" actId="478"/>
          <ac:picMkLst>
            <pc:docMk/>
            <pc:sldMk cId="2318316286" sldId="681"/>
            <ac:picMk id="4098" creationId="{FB99E55D-5EB5-FEF5-8E50-DD55BE06C448}"/>
          </ac:picMkLst>
        </pc:picChg>
        <pc:picChg chg="add mod">
          <ac:chgData name="Thomas Stensitzki" userId="75cafe6b-2f2a-469b-85c4-eec3b9c972ba" providerId="ADAL" clId="{EF5284BB-E924-47D6-B186-EC378FA380D2}" dt="2023-05-16T14:00:52.258" v="2490" actId="1076"/>
          <ac:picMkLst>
            <pc:docMk/>
            <pc:sldMk cId="2318316286" sldId="681"/>
            <ac:picMk id="5122" creationId="{C023A9B9-0201-06B5-75AC-B6EBA8EBCFCA}"/>
          </ac:picMkLst>
        </pc:picChg>
        <pc:picChg chg="add mod">
          <ac:chgData name="Thomas Stensitzki" userId="75cafe6b-2f2a-469b-85c4-eec3b9c972ba" providerId="ADAL" clId="{EF5284BB-E924-47D6-B186-EC378FA380D2}" dt="2023-05-16T14:01:55.485" v="2501" actId="1076"/>
          <ac:picMkLst>
            <pc:docMk/>
            <pc:sldMk cId="2318316286" sldId="681"/>
            <ac:picMk id="5124" creationId="{32F410A2-3C1E-5D63-7114-0A4C8EE34210}"/>
          </ac:picMkLst>
        </pc:picChg>
      </pc:sldChg>
      <pc:sldChg chg="del">
        <pc:chgData name="Thomas Stensitzki" userId="75cafe6b-2f2a-469b-85c4-eec3b9c972ba" providerId="ADAL" clId="{EF5284BB-E924-47D6-B186-EC378FA380D2}" dt="2023-04-22T12:48:27.349" v="16" actId="47"/>
        <pc:sldMkLst>
          <pc:docMk/>
          <pc:sldMk cId="3850999508" sldId="681"/>
        </pc:sldMkLst>
      </pc:sldChg>
      <pc:sldChg chg="del">
        <pc:chgData name="Thomas Stensitzki" userId="75cafe6b-2f2a-469b-85c4-eec3b9c972ba" providerId="ADAL" clId="{EF5284BB-E924-47D6-B186-EC378FA380D2}" dt="2023-04-22T12:48:27.349" v="16" actId="47"/>
        <pc:sldMkLst>
          <pc:docMk/>
          <pc:sldMk cId="2152297632" sldId="682"/>
        </pc:sldMkLst>
      </pc:sldChg>
      <pc:sldChg chg="modSp new mod">
        <pc:chgData name="Thomas Stensitzki" userId="75cafe6b-2f2a-469b-85c4-eec3b9c972ba" providerId="ADAL" clId="{EF5284BB-E924-47D6-B186-EC378FA380D2}" dt="2023-05-25T11:20:49.041" v="4601" actId="6549"/>
        <pc:sldMkLst>
          <pc:docMk/>
          <pc:sldMk cId="4114483723" sldId="682"/>
        </pc:sldMkLst>
        <pc:spChg chg="mod">
          <ac:chgData name="Thomas Stensitzki" userId="75cafe6b-2f2a-469b-85c4-eec3b9c972ba" providerId="ADAL" clId="{EF5284BB-E924-47D6-B186-EC378FA380D2}" dt="2023-05-16T14:02:42.994" v="2505"/>
          <ac:spMkLst>
            <pc:docMk/>
            <pc:sldMk cId="4114483723" sldId="682"/>
            <ac:spMk id="2" creationId="{BA9401AC-C5A7-A4F0-0B41-833FB04D6609}"/>
          </ac:spMkLst>
        </pc:spChg>
        <pc:spChg chg="mod">
          <ac:chgData name="Thomas Stensitzki" userId="75cafe6b-2f2a-469b-85c4-eec3b9c972ba" providerId="ADAL" clId="{EF5284BB-E924-47D6-B186-EC378FA380D2}" dt="2023-05-25T11:20:49.041" v="4601" actId="6549"/>
          <ac:spMkLst>
            <pc:docMk/>
            <pc:sldMk cId="4114483723" sldId="682"/>
            <ac:spMk id="3" creationId="{151AB954-4459-8C1F-BCDF-58081CBBDB4F}"/>
          </ac:spMkLst>
        </pc:spChg>
      </pc:sldChg>
      <pc:sldChg chg="del">
        <pc:chgData name="Thomas Stensitzki" userId="75cafe6b-2f2a-469b-85c4-eec3b9c972ba" providerId="ADAL" clId="{EF5284BB-E924-47D6-B186-EC378FA380D2}" dt="2023-04-22T12:48:27.349" v="16" actId="47"/>
        <pc:sldMkLst>
          <pc:docMk/>
          <pc:sldMk cId="476894528" sldId="683"/>
        </pc:sldMkLst>
      </pc:sldChg>
      <pc:sldChg chg="addSp modSp new mod modNotesTx">
        <pc:chgData name="Thomas Stensitzki" userId="75cafe6b-2f2a-469b-85c4-eec3b9c972ba" providerId="ADAL" clId="{EF5284BB-E924-47D6-B186-EC378FA380D2}" dt="2023-05-25T08:37:10.833" v="3528" actId="6549"/>
        <pc:sldMkLst>
          <pc:docMk/>
          <pc:sldMk cId="3010415139" sldId="683"/>
        </pc:sldMkLst>
        <pc:spChg chg="mod">
          <ac:chgData name="Thomas Stensitzki" userId="75cafe6b-2f2a-469b-85c4-eec3b9c972ba" providerId="ADAL" clId="{EF5284BB-E924-47D6-B186-EC378FA380D2}" dt="2023-05-16T14:04:01.342" v="2512"/>
          <ac:spMkLst>
            <pc:docMk/>
            <pc:sldMk cId="3010415139" sldId="683"/>
            <ac:spMk id="2" creationId="{E090DCA6-2DC7-EFD8-AF36-A4899C1BF69F}"/>
          </ac:spMkLst>
        </pc:spChg>
        <pc:spChg chg="mod">
          <ac:chgData name="Thomas Stensitzki" userId="75cafe6b-2f2a-469b-85c4-eec3b9c972ba" providerId="ADAL" clId="{EF5284BB-E924-47D6-B186-EC378FA380D2}" dt="2023-05-25T08:37:08.534" v="3527" actId="20577"/>
          <ac:spMkLst>
            <pc:docMk/>
            <pc:sldMk cId="3010415139" sldId="683"/>
            <ac:spMk id="3" creationId="{C24E32EC-AD7A-1EF6-5959-C3B95F0A9542}"/>
          </ac:spMkLst>
        </pc:spChg>
        <pc:picChg chg="add mod">
          <ac:chgData name="Thomas Stensitzki" userId="75cafe6b-2f2a-469b-85c4-eec3b9c972ba" providerId="ADAL" clId="{EF5284BB-E924-47D6-B186-EC378FA380D2}" dt="2023-05-25T08:35:06.200" v="3340" actId="1440"/>
          <ac:picMkLst>
            <pc:docMk/>
            <pc:sldMk cId="3010415139" sldId="683"/>
            <ac:picMk id="5" creationId="{DF7306AB-6CBC-D184-F187-84E9F00A8505}"/>
          </ac:picMkLst>
        </pc:picChg>
      </pc:sldChg>
      <pc:sldChg chg="modSp new mod modNotesTx">
        <pc:chgData name="Thomas Stensitzki" userId="75cafe6b-2f2a-469b-85c4-eec3b9c972ba" providerId="ADAL" clId="{EF5284BB-E924-47D6-B186-EC378FA380D2}" dt="2023-05-25T08:43:25.780" v="3854" actId="6549"/>
        <pc:sldMkLst>
          <pc:docMk/>
          <pc:sldMk cId="1765254123" sldId="684"/>
        </pc:sldMkLst>
        <pc:spChg chg="mod">
          <ac:chgData name="Thomas Stensitzki" userId="75cafe6b-2f2a-469b-85c4-eec3b9c972ba" providerId="ADAL" clId="{EF5284BB-E924-47D6-B186-EC378FA380D2}" dt="2023-05-16T14:05:40.651" v="2540"/>
          <ac:spMkLst>
            <pc:docMk/>
            <pc:sldMk cId="1765254123" sldId="684"/>
            <ac:spMk id="2" creationId="{7DB52A52-7B5D-B204-DC0F-B997FBB81597}"/>
          </ac:spMkLst>
        </pc:spChg>
        <pc:spChg chg="mod">
          <ac:chgData name="Thomas Stensitzki" userId="75cafe6b-2f2a-469b-85c4-eec3b9c972ba" providerId="ADAL" clId="{EF5284BB-E924-47D6-B186-EC378FA380D2}" dt="2023-05-25T08:43:02.655" v="3853"/>
          <ac:spMkLst>
            <pc:docMk/>
            <pc:sldMk cId="1765254123" sldId="684"/>
            <ac:spMk id="3" creationId="{0E618A5E-8BDC-2DAE-F6DE-E832B9BEF4E8}"/>
          </ac:spMkLst>
        </pc:spChg>
      </pc:sldChg>
      <pc:sldChg chg="del">
        <pc:chgData name="Thomas Stensitzki" userId="75cafe6b-2f2a-469b-85c4-eec3b9c972ba" providerId="ADAL" clId="{EF5284BB-E924-47D6-B186-EC378FA380D2}" dt="2023-04-22T12:48:27.349" v="16" actId="47"/>
        <pc:sldMkLst>
          <pc:docMk/>
          <pc:sldMk cId="2385236446" sldId="684"/>
        </pc:sldMkLst>
      </pc:sldChg>
      <pc:sldChg chg="del">
        <pc:chgData name="Thomas Stensitzki" userId="75cafe6b-2f2a-469b-85c4-eec3b9c972ba" providerId="ADAL" clId="{EF5284BB-E924-47D6-B186-EC378FA380D2}" dt="2023-04-22T12:48:27.349" v="16" actId="47"/>
        <pc:sldMkLst>
          <pc:docMk/>
          <pc:sldMk cId="380254688" sldId="685"/>
        </pc:sldMkLst>
      </pc:sldChg>
      <pc:sldChg chg="addSp delSp modSp new mod modAnim">
        <pc:chgData name="Thomas Stensitzki" userId="75cafe6b-2f2a-469b-85c4-eec3b9c972ba" providerId="ADAL" clId="{EF5284BB-E924-47D6-B186-EC378FA380D2}" dt="2023-05-25T08:50:38.861" v="3961"/>
        <pc:sldMkLst>
          <pc:docMk/>
          <pc:sldMk cId="1361138141" sldId="685"/>
        </pc:sldMkLst>
        <pc:spChg chg="mod">
          <ac:chgData name="Thomas Stensitzki" userId="75cafe6b-2f2a-469b-85c4-eec3b9c972ba" providerId="ADAL" clId="{EF5284BB-E924-47D6-B186-EC378FA380D2}" dt="2023-05-16T14:08:00.156" v="2554"/>
          <ac:spMkLst>
            <pc:docMk/>
            <pc:sldMk cId="1361138141" sldId="685"/>
            <ac:spMk id="2" creationId="{C9F6A9DF-05DE-8830-8DF5-2280D1CF710A}"/>
          </ac:spMkLst>
        </pc:spChg>
        <pc:spChg chg="mod">
          <ac:chgData name="Thomas Stensitzki" userId="75cafe6b-2f2a-469b-85c4-eec3b9c972ba" providerId="ADAL" clId="{EF5284BB-E924-47D6-B186-EC378FA380D2}" dt="2023-05-25T08:50:38.861" v="3961"/>
          <ac:spMkLst>
            <pc:docMk/>
            <pc:sldMk cId="1361138141" sldId="685"/>
            <ac:spMk id="3" creationId="{DAFAF2E8-7441-9309-2A91-F240662E9AD1}"/>
          </ac:spMkLst>
        </pc:spChg>
        <pc:spChg chg="add del">
          <ac:chgData name="Thomas Stensitzki" userId="75cafe6b-2f2a-469b-85c4-eec3b9c972ba" providerId="ADAL" clId="{EF5284BB-E924-47D6-B186-EC378FA380D2}" dt="2023-05-25T08:48:13.135" v="3929" actId="22"/>
          <ac:spMkLst>
            <pc:docMk/>
            <pc:sldMk cId="1361138141" sldId="685"/>
            <ac:spMk id="5" creationId="{E63B0217-DCF0-0106-B0AC-02F4D4EFB9DE}"/>
          </ac:spMkLst>
        </pc:spChg>
        <pc:spChg chg="add mod">
          <ac:chgData name="Thomas Stensitzki" userId="75cafe6b-2f2a-469b-85c4-eec3b9c972ba" providerId="ADAL" clId="{EF5284BB-E924-47D6-B186-EC378FA380D2}" dt="2023-05-25T08:48:54.108" v="3935" actId="1076"/>
          <ac:spMkLst>
            <pc:docMk/>
            <pc:sldMk cId="1361138141" sldId="685"/>
            <ac:spMk id="8" creationId="{458DC333-5E07-7964-7BFE-5B8AB11DF37A}"/>
          </ac:spMkLst>
        </pc:spChg>
        <pc:picChg chg="add mod">
          <ac:chgData name="Thomas Stensitzki" userId="75cafe6b-2f2a-469b-85c4-eec3b9c972ba" providerId="ADAL" clId="{EF5284BB-E924-47D6-B186-EC378FA380D2}" dt="2023-05-25T08:48:27.139" v="3933" actId="1440"/>
          <ac:picMkLst>
            <pc:docMk/>
            <pc:sldMk cId="1361138141" sldId="685"/>
            <ac:picMk id="7" creationId="{DB2877FD-72CC-C746-33C8-C557506B26F5}"/>
          </ac:picMkLst>
        </pc:picChg>
      </pc:sldChg>
      <pc:sldChg chg="addSp delSp modSp new mod modNotesTx">
        <pc:chgData name="Thomas Stensitzki" userId="75cafe6b-2f2a-469b-85c4-eec3b9c972ba" providerId="ADAL" clId="{EF5284BB-E924-47D6-B186-EC378FA380D2}" dt="2023-05-25T11:22:30.729" v="4627" actId="1440"/>
        <pc:sldMkLst>
          <pc:docMk/>
          <pc:sldMk cId="1099908272" sldId="686"/>
        </pc:sldMkLst>
        <pc:spChg chg="mod">
          <ac:chgData name="Thomas Stensitzki" userId="75cafe6b-2f2a-469b-85c4-eec3b9c972ba" providerId="ADAL" clId="{EF5284BB-E924-47D6-B186-EC378FA380D2}" dt="2023-05-16T14:19:00.994" v="2567"/>
          <ac:spMkLst>
            <pc:docMk/>
            <pc:sldMk cId="1099908272" sldId="686"/>
            <ac:spMk id="2" creationId="{9B8F144C-E0AD-BC5F-8848-227CDFE03CC4}"/>
          </ac:spMkLst>
        </pc:spChg>
        <pc:spChg chg="del">
          <ac:chgData name="Thomas Stensitzki" userId="75cafe6b-2f2a-469b-85c4-eec3b9c972ba" providerId="ADAL" clId="{EF5284BB-E924-47D6-B186-EC378FA380D2}" dt="2023-05-16T14:19:08.265" v="2568" actId="478"/>
          <ac:spMkLst>
            <pc:docMk/>
            <pc:sldMk cId="1099908272" sldId="686"/>
            <ac:spMk id="3" creationId="{AB585898-60DD-993F-3929-F74315FACD23}"/>
          </ac:spMkLst>
        </pc:spChg>
        <pc:picChg chg="add mod">
          <ac:chgData name="Thomas Stensitzki" userId="75cafe6b-2f2a-469b-85c4-eec3b9c972ba" providerId="ADAL" clId="{EF5284BB-E924-47D6-B186-EC378FA380D2}" dt="2023-05-25T11:22:30.729" v="4627" actId="1440"/>
          <ac:picMkLst>
            <pc:docMk/>
            <pc:sldMk cId="1099908272" sldId="686"/>
            <ac:picMk id="6146" creationId="{E65927FB-932C-A269-31F5-37E00FD4CC40}"/>
          </ac:picMkLst>
        </pc:picChg>
      </pc:sldChg>
      <pc:sldChg chg="del">
        <pc:chgData name="Thomas Stensitzki" userId="75cafe6b-2f2a-469b-85c4-eec3b9c972ba" providerId="ADAL" clId="{EF5284BB-E924-47D6-B186-EC378FA380D2}" dt="2023-04-22T12:48:27.349" v="16" actId="47"/>
        <pc:sldMkLst>
          <pc:docMk/>
          <pc:sldMk cId="1151479395" sldId="686"/>
        </pc:sldMkLst>
      </pc:sldChg>
      <pc:sldChg chg="addSp delSp modSp new mod modNotesTx">
        <pc:chgData name="Thomas Stensitzki" userId="75cafe6b-2f2a-469b-85c4-eec3b9c972ba" providerId="ADAL" clId="{EF5284BB-E924-47D6-B186-EC378FA380D2}" dt="2023-05-25T11:26:09.045" v="4645" actId="1440"/>
        <pc:sldMkLst>
          <pc:docMk/>
          <pc:sldMk cId="2682737613" sldId="687"/>
        </pc:sldMkLst>
        <pc:spChg chg="mod">
          <ac:chgData name="Thomas Stensitzki" userId="75cafe6b-2f2a-469b-85c4-eec3b9c972ba" providerId="ADAL" clId="{EF5284BB-E924-47D6-B186-EC378FA380D2}" dt="2023-05-16T14:21:03.018" v="2577"/>
          <ac:spMkLst>
            <pc:docMk/>
            <pc:sldMk cId="2682737613" sldId="687"/>
            <ac:spMk id="2" creationId="{B68D9ABF-307E-E24E-EC5A-428BCB6837C6}"/>
          </ac:spMkLst>
        </pc:spChg>
        <pc:spChg chg="del">
          <ac:chgData name="Thomas Stensitzki" userId="75cafe6b-2f2a-469b-85c4-eec3b9c972ba" providerId="ADAL" clId="{EF5284BB-E924-47D6-B186-EC378FA380D2}" dt="2023-05-16T14:21:04.964" v="2578" actId="478"/>
          <ac:spMkLst>
            <pc:docMk/>
            <pc:sldMk cId="2682737613" sldId="687"/>
            <ac:spMk id="3" creationId="{DD768D13-CBA5-32A5-CD7A-9794C12C8CDA}"/>
          </ac:spMkLst>
        </pc:spChg>
        <pc:picChg chg="add mod">
          <ac:chgData name="Thomas Stensitzki" userId="75cafe6b-2f2a-469b-85c4-eec3b9c972ba" providerId="ADAL" clId="{EF5284BB-E924-47D6-B186-EC378FA380D2}" dt="2023-05-25T11:26:09.045" v="4645" actId="1440"/>
          <ac:picMkLst>
            <pc:docMk/>
            <pc:sldMk cId="2682737613" sldId="687"/>
            <ac:picMk id="7170" creationId="{DC4F6B9A-2A81-3985-B1F2-4CDDF3664E1B}"/>
          </ac:picMkLst>
        </pc:picChg>
      </pc:sldChg>
      <pc:sldChg chg="del">
        <pc:chgData name="Thomas Stensitzki" userId="75cafe6b-2f2a-469b-85c4-eec3b9c972ba" providerId="ADAL" clId="{EF5284BB-E924-47D6-B186-EC378FA380D2}" dt="2023-04-22T12:48:27.349" v="16" actId="47"/>
        <pc:sldMkLst>
          <pc:docMk/>
          <pc:sldMk cId="3396655959" sldId="687"/>
        </pc:sldMkLst>
      </pc:sldChg>
      <pc:sldChg chg="modSp add modNotesTx">
        <pc:chgData name="Thomas Stensitzki" userId="75cafe6b-2f2a-469b-85c4-eec3b9c972ba" providerId="ADAL" clId="{EF5284BB-E924-47D6-B186-EC378FA380D2}" dt="2023-05-25T11:26:14.482" v="4646" actId="1440"/>
        <pc:sldMkLst>
          <pc:docMk/>
          <pc:sldMk cId="2943637064" sldId="688"/>
        </pc:sldMkLst>
        <pc:picChg chg="mod">
          <ac:chgData name="Thomas Stensitzki" userId="75cafe6b-2f2a-469b-85c4-eec3b9c972ba" providerId="ADAL" clId="{EF5284BB-E924-47D6-B186-EC378FA380D2}" dt="2023-05-25T11:26:14.482" v="4646" actId="1440"/>
          <ac:picMkLst>
            <pc:docMk/>
            <pc:sldMk cId="2943637064" sldId="688"/>
            <ac:picMk id="7170" creationId="{DC4F6B9A-2A81-3985-B1F2-4CDDF3664E1B}"/>
          </ac:picMkLst>
        </pc:picChg>
      </pc:sldChg>
      <pc:sldChg chg="del">
        <pc:chgData name="Thomas Stensitzki" userId="75cafe6b-2f2a-469b-85c4-eec3b9c972ba" providerId="ADAL" clId="{EF5284BB-E924-47D6-B186-EC378FA380D2}" dt="2023-04-22T12:48:27.349" v="16" actId="47"/>
        <pc:sldMkLst>
          <pc:docMk/>
          <pc:sldMk cId="3879280141" sldId="688"/>
        </pc:sldMkLst>
      </pc:sldChg>
      <pc:sldChg chg="del">
        <pc:chgData name="Thomas Stensitzki" userId="75cafe6b-2f2a-469b-85c4-eec3b9c972ba" providerId="ADAL" clId="{EF5284BB-E924-47D6-B186-EC378FA380D2}" dt="2023-04-22T12:48:08.972" v="14" actId="47"/>
        <pc:sldMkLst>
          <pc:docMk/>
          <pc:sldMk cId="882736164" sldId="689"/>
        </pc:sldMkLst>
      </pc:sldChg>
      <pc:sldChg chg="addSp delSp modSp add modAnim modNotesTx">
        <pc:chgData name="Thomas Stensitzki" userId="75cafe6b-2f2a-469b-85c4-eec3b9c972ba" providerId="ADAL" clId="{EF5284BB-E924-47D6-B186-EC378FA380D2}" dt="2023-05-25T11:26:16.250" v="4647" actId="1440"/>
        <pc:sldMkLst>
          <pc:docMk/>
          <pc:sldMk cId="4179798793" sldId="689"/>
        </pc:sldMkLst>
        <pc:spChg chg="add del mod">
          <ac:chgData name="Thomas Stensitzki" userId="75cafe6b-2f2a-469b-85c4-eec3b9c972ba" providerId="ADAL" clId="{EF5284BB-E924-47D6-B186-EC378FA380D2}" dt="2023-05-25T08:58:48.326" v="4008"/>
          <ac:spMkLst>
            <pc:docMk/>
            <pc:sldMk cId="4179798793" sldId="689"/>
            <ac:spMk id="3" creationId="{360BAEA0-EF61-4990-9887-8C49518E5AC5}"/>
          </ac:spMkLst>
        </pc:spChg>
        <pc:picChg chg="mod">
          <ac:chgData name="Thomas Stensitzki" userId="75cafe6b-2f2a-469b-85c4-eec3b9c972ba" providerId="ADAL" clId="{EF5284BB-E924-47D6-B186-EC378FA380D2}" dt="2023-05-25T11:26:16.250" v="4647" actId="1440"/>
          <ac:picMkLst>
            <pc:docMk/>
            <pc:sldMk cId="4179798793" sldId="689"/>
            <ac:picMk id="7170" creationId="{DC4F6B9A-2A81-3985-B1F2-4CDDF3664E1B}"/>
          </ac:picMkLst>
        </pc:picChg>
      </pc:sldChg>
      <pc:sldChg chg="del">
        <pc:chgData name="Thomas Stensitzki" userId="75cafe6b-2f2a-469b-85c4-eec3b9c972ba" providerId="ADAL" clId="{EF5284BB-E924-47D6-B186-EC378FA380D2}" dt="2023-04-22T12:48:08.972" v="14" actId="47"/>
        <pc:sldMkLst>
          <pc:docMk/>
          <pc:sldMk cId="2999548056" sldId="690"/>
        </pc:sldMkLst>
      </pc:sldChg>
      <pc:sldChg chg="addSp modSp add mod modAnim modNotesTx">
        <pc:chgData name="Thomas Stensitzki" userId="75cafe6b-2f2a-469b-85c4-eec3b9c972ba" providerId="ADAL" clId="{EF5284BB-E924-47D6-B186-EC378FA380D2}" dt="2023-05-25T11:26:17.729" v="4648" actId="1440"/>
        <pc:sldMkLst>
          <pc:docMk/>
          <pc:sldMk cId="3467191386" sldId="690"/>
        </pc:sldMkLst>
        <pc:spChg chg="add mod">
          <ac:chgData name="Thomas Stensitzki" userId="75cafe6b-2f2a-469b-85c4-eec3b9c972ba" providerId="ADAL" clId="{EF5284BB-E924-47D6-B186-EC378FA380D2}" dt="2023-05-25T08:58:41.642" v="4006" actId="1076"/>
          <ac:spMkLst>
            <pc:docMk/>
            <pc:sldMk cId="3467191386" sldId="690"/>
            <ac:spMk id="3" creationId="{CB3F86C2-E560-8B7C-2508-31BC7EF5599F}"/>
          </ac:spMkLst>
        </pc:spChg>
        <pc:picChg chg="mod">
          <ac:chgData name="Thomas Stensitzki" userId="75cafe6b-2f2a-469b-85c4-eec3b9c972ba" providerId="ADAL" clId="{EF5284BB-E924-47D6-B186-EC378FA380D2}" dt="2023-05-25T11:26:17.729" v="4648" actId="1440"/>
          <ac:picMkLst>
            <pc:docMk/>
            <pc:sldMk cId="3467191386" sldId="690"/>
            <ac:picMk id="7170" creationId="{DC4F6B9A-2A81-3985-B1F2-4CDDF3664E1B}"/>
          </ac:picMkLst>
        </pc:picChg>
      </pc:sldChg>
      <pc:sldChg chg="addSp modSp add mod modAnim">
        <pc:chgData name="Thomas Stensitzki" userId="75cafe6b-2f2a-469b-85c4-eec3b9c972ba" providerId="ADAL" clId="{EF5284BB-E924-47D6-B186-EC378FA380D2}" dt="2023-05-25T11:26:20.055" v="4649" actId="1440"/>
        <pc:sldMkLst>
          <pc:docMk/>
          <pc:sldMk cId="3176227063" sldId="691"/>
        </pc:sldMkLst>
        <pc:spChg chg="add mod">
          <ac:chgData name="Thomas Stensitzki" userId="75cafe6b-2f2a-469b-85c4-eec3b9c972ba" providerId="ADAL" clId="{EF5284BB-E924-47D6-B186-EC378FA380D2}" dt="2023-05-25T08:58:04.602" v="4004" actId="1076"/>
          <ac:spMkLst>
            <pc:docMk/>
            <pc:sldMk cId="3176227063" sldId="691"/>
            <ac:spMk id="3" creationId="{A58DA3B1-E3E1-F4D5-90E5-5D72A4ED1005}"/>
          </ac:spMkLst>
        </pc:spChg>
        <pc:picChg chg="mod">
          <ac:chgData name="Thomas Stensitzki" userId="75cafe6b-2f2a-469b-85c4-eec3b9c972ba" providerId="ADAL" clId="{EF5284BB-E924-47D6-B186-EC378FA380D2}" dt="2023-05-25T11:26:20.055" v="4649" actId="1440"/>
          <ac:picMkLst>
            <pc:docMk/>
            <pc:sldMk cId="3176227063" sldId="691"/>
            <ac:picMk id="7170" creationId="{DC4F6B9A-2A81-3985-B1F2-4CDDF3664E1B}"/>
          </ac:picMkLst>
        </pc:picChg>
      </pc:sldChg>
      <pc:sldChg chg="del">
        <pc:chgData name="Thomas Stensitzki" userId="75cafe6b-2f2a-469b-85c4-eec3b9c972ba" providerId="ADAL" clId="{EF5284BB-E924-47D6-B186-EC378FA380D2}" dt="2023-04-22T12:48:15.704" v="15" actId="47"/>
        <pc:sldMkLst>
          <pc:docMk/>
          <pc:sldMk cId="3382179983" sldId="691"/>
        </pc:sldMkLst>
      </pc:sldChg>
      <pc:sldChg chg="modSp add modNotesTx">
        <pc:chgData name="Thomas Stensitzki" userId="75cafe6b-2f2a-469b-85c4-eec3b9c972ba" providerId="ADAL" clId="{EF5284BB-E924-47D6-B186-EC378FA380D2}" dt="2023-05-25T11:26:21.570" v="4650" actId="1440"/>
        <pc:sldMkLst>
          <pc:docMk/>
          <pc:sldMk cId="2332237802" sldId="692"/>
        </pc:sldMkLst>
        <pc:picChg chg="mod">
          <ac:chgData name="Thomas Stensitzki" userId="75cafe6b-2f2a-469b-85c4-eec3b9c972ba" providerId="ADAL" clId="{EF5284BB-E924-47D6-B186-EC378FA380D2}" dt="2023-05-25T11:26:21.570" v="4650" actId="1440"/>
          <ac:picMkLst>
            <pc:docMk/>
            <pc:sldMk cId="2332237802" sldId="692"/>
            <ac:picMk id="7170" creationId="{DC4F6B9A-2A81-3985-B1F2-4CDDF3664E1B}"/>
          </ac:picMkLst>
        </pc:picChg>
      </pc:sldChg>
      <pc:sldChg chg="del">
        <pc:chgData name="Thomas Stensitzki" userId="75cafe6b-2f2a-469b-85c4-eec3b9c972ba" providerId="ADAL" clId="{EF5284BB-E924-47D6-B186-EC378FA380D2}" dt="2023-04-22T12:48:15.704" v="15" actId="47"/>
        <pc:sldMkLst>
          <pc:docMk/>
          <pc:sldMk cId="2967036620" sldId="692"/>
        </pc:sldMkLst>
      </pc:sldChg>
      <pc:sldChg chg="del">
        <pc:chgData name="Thomas Stensitzki" userId="75cafe6b-2f2a-469b-85c4-eec3b9c972ba" providerId="ADAL" clId="{EF5284BB-E924-47D6-B186-EC378FA380D2}" dt="2023-04-22T12:48:15.704" v="15" actId="47"/>
        <pc:sldMkLst>
          <pc:docMk/>
          <pc:sldMk cId="48805967" sldId="693"/>
        </pc:sldMkLst>
      </pc:sldChg>
      <pc:sldChg chg="addSp delSp modSp add modAnim modNotesTx">
        <pc:chgData name="Thomas Stensitzki" userId="75cafe6b-2f2a-469b-85c4-eec3b9c972ba" providerId="ADAL" clId="{EF5284BB-E924-47D6-B186-EC378FA380D2}" dt="2023-05-25T11:26:23.071" v="4651" actId="1440"/>
        <pc:sldMkLst>
          <pc:docMk/>
          <pc:sldMk cId="452218326" sldId="693"/>
        </pc:sldMkLst>
        <pc:spChg chg="add del mod">
          <ac:chgData name="Thomas Stensitzki" userId="75cafe6b-2f2a-469b-85c4-eec3b9c972ba" providerId="ADAL" clId="{EF5284BB-E924-47D6-B186-EC378FA380D2}" dt="2023-05-25T08:57:16.914" v="4000"/>
          <ac:spMkLst>
            <pc:docMk/>
            <pc:sldMk cId="452218326" sldId="693"/>
            <ac:spMk id="3" creationId="{8AA9D125-2712-380D-B106-2E27AA459503}"/>
          </ac:spMkLst>
        </pc:spChg>
        <pc:picChg chg="mod">
          <ac:chgData name="Thomas Stensitzki" userId="75cafe6b-2f2a-469b-85c4-eec3b9c972ba" providerId="ADAL" clId="{EF5284BB-E924-47D6-B186-EC378FA380D2}" dt="2023-05-25T11:26:23.071" v="4651" actId="1440"/>
          <ac:picMkLst>
            <pc:docMk/>
            <pc:sldMk cId="452218326" sldId="693"/>
            <ac:picMk id="7170" creationId="{DC4F6B9A-2A81-3985-B1F2-4CDDF3664E1B}"/>
          </ac:picMkLst>
        </pc:picChg>
      </pc:sldChg>
      <pc:sldChg chg="addSp modSp add mod modAnim modNotesTx">
        <pc:chgData name="Thomas Stensitzki" userId="75cafe6b-2f2a-469b-85c4-eec3b9c972ba" providerId="ADAL" clId="{EF5284BB-E924-47D6-B186-EC378FA380D2}" dt="2023-05-25T11:26:24.587" v="4652" actId="1440"/>
        <pc:sldMkLst>
          <pc:docMk/>
          <pc:sldMk cId="1161338400" sldId="694"/>
        </pc:sldMkLst>
        <pc:spChg chg="add mod">
          <ac:chgData name="Thomas Stensitzki" userId="75cafe6b-2f2a-469b-85c4-eec3b9c972ba" providerId="ADAL" clId="{EF5284BB-E924-47D6-B186-EC378FA380D2}" dt="2023-05-25T08:57:08.583" v="3998" actId="1076"/>
          <ac:spMkLst>
            <pc:docMk/>
            <pc:sldMk cId="1161338400" sldId="694"/>
            <ac:spMk id="3" creationId="{1252C631-A0D2-03C5-DCAE-913207590E3A}"/>
          </ac:spMkLst>
        </pc:spChg>
        <pc:picChg chg="mod">
          <ac:chgData name="Thomas Stensitzki" userId="75cafe6b-2f2a-469b-85c4-eec3b9c972ba" providerId="ADAL" clId="{EF5284BB-E924-47D6-B186-EC378FA380D2}" dt="2023-05-25T11:26:24.587" v="4652" actId="1440"/>
          <ac:picMkLst>
            <pc:docMk/>
            <pc:sldMk cId="1161338400" sldId="694"/>
            <ac:picMk id="7170" creationId="{DC4F6B9A-2A81-3985-B1F2-4CDDF3664E1B}"/>
          </ac:picMkLst>
        </pc:picChg>
      </pc:sldChg>
      <pc:sldChg chg="del">
        <pc:chgData name="Thomas Stensitzki" userId="75cafe6b-2f2a-469b-85c4-eec3b9c972ba" providerId="ADAL" clId="{EF5284BB-E924-47D6-B186-EC378FA380D2}" dt="2023-04-22T12:48:15.704" v="15" actId="47"/>
        <pc:sldMkLst>
          <pc:docMk/>
          <pc:sldMk cId="1294646207" sldId="694"/>
        </pc:sldMkLst>
      </pc:sldChg>
      <pc:sldChg chg="modSp add modNotesTx">
        <pc:chgData name="Thomas Stensitzki" userId="75cafe6b-2f2a-469b-85c4-eec3b9c972ba" providerId="ADAL" clId="{EF5284BB-E924-47D6-B186-EC378FA380D2}" dt="2023-05-16T14:25:13.166" v="2618" actId="14826"/>
        <pc:sldMkLst>
          <pc:docMk/>
          <pc:sldMk cId="3643256137" sldId="695"/>
        </pc:sldMkLst>
        <pc:picChg chg="mod">
          <ac:chgData name="Thomas Stensitzki" userId="75cafe6b-2f2a-469b-85c4-eec3b9c972ba" providerId="ADAL" clId="{EF5284BB-E924-47D6-B186-EC378FA380D2}" dt="2023-05-16T14:25:13.166" v="2618" actId="14826"/>
          <ac:picMkLst>
            <pc:docMk/>
            <pc:sldMk cId="3643256137" sldId="695"/>
            <ac:picMk id="7170" creationId="{DC4F6B9A-2A81-3985-B1F2-4CDDF3664E1B}"/>
          </ac:picMkLst>
        </pc:picChg>
      </pc:sldChg>
      <pc:sldChg chg="addSp modSp add mod modAnim modNotesTx">
        <pc:chgData name="Thomas Stensitzki" userId="75cafe6b-2f2a-469b-85c4-eec3b9c972ba" providerId="ADAL" clId="{EF5284BB-E924-47D6-B186-EC378FA380D2}" dt="2023-05-25T15:40:53.160" v="5102" actId="1076"/>
        <pc:sldMkLst>
          <pc:docMk/>
          <pc:sldMk cId="3372974903" sldId="696"/>
        </pc:sldMkLst>
        <pc:spChg chg="add mod">
          <ac:chgData name="Thomas Stensitzki" userId="75cafe6b-2f2a-469b-85c4-eec3b9c972ba" providerId="ADAL" clId="{EF5284BB-E924-47D6-B186-EC378FA380D2}" dt="2023-05-25T15:40:53.160" v="5102" actId="1076"/>
          <ac:spMkLst>
            <pc:docMk/>
            <pc:sldMk cId="3372974903" sldId="696"/>
            <ac:spMk id="3" creationId="{2523297A-1A42-BC7C-44F0-E09B9705B407}"/>
          </ac:spMkLst>
        </pc:spChg>
        <pc:picChg chg="mod">
          <ac:chgData name="Thomas Stensitzki" userId="75cafe6b-2f2a-469b-85c4-eec3b9c972ba" providerId="ADAL" clId="{EF5284BB-E924-47D6-B186-EC378FA380D2}" dt="2023-05-16T14:26:11.626" v="2625" actId="14826"/>
          <ac:picMkLst>
            <pc:docMk/>
            <pc:sldMk cId="3372974903" sldId="696"/>
            <ac:picMk id="7170" creationId="{DC4F6B9A-2A81-3985-B1F2-4CDDF3664E1B}"/>
          </ac:picMkLst>
        </pc:picChg>
      </pc:sldChg>
      <pc:sldChg chg="addSp delSp modSp new mod modNotesTx">
        <pc:chgData name="Thomas Stensitzki" userId="75cafe6b-2f2a-469b-85c4-eec3b9c972ba" providerId="ADAL" clId="{EF5284BB-E924-47D6-B186-EC378FA380D2}" dt="2023-05-25T11:22:27.379" v="4626" actId="1440"/>
        <pc:sldMkLst>
          <pc:docMk/>
          <pc:sldMk cId="374091465" sldId="697"/>
        </pc:sldMkLst>
        <pc:spChg chg="mod">
          <ac:chgData name="Thomas Stensitzki" userId="75cafe6b-2f2a-469b-85c4-eec3b9c972ba" providerId="ADAL" clId="{EF5284BB-E924-47D6-B186-EC378FA380D2}" dt="2023-05-16T14:28:39.537" v="2629"/>
          <ac:spMkLst>
            <pc:docMk/>
            <pc:sldMk cId="374091465" sldId="697"/>
            <ac:spMk id="2" creationId="{3ADCC40F-C5BA-B284-3AF8-D6CC46FDD2EF}"/>
          </ac:spMkLst>
        </pc:spChg>
        <pc:spChg chg="del">
          <ac:chgData name="Thomas Stensitzki" userId="75cafe6b-2f2a-469b-85c4-eec3b9c972ba" providerId="ADAL" clId="{EF5284BB-E924-47D6-B186-EC378FA380D2}" dt="2023-05-16T14:28:44.967" v="2630" actId="478"/>
          <ac:spMkLst>
            <pc:docMk/>
            <pc:sldMk cId="374091465" sldId="697"/>
            <ac:spMk id="3" creationId="{16B8C3D8-0F53-5DDC-18B8-D17EE8A04834}"/>
          </ac:spMkLst>
        </pc:spChg>
        <pc:spChg chg="add mod">
          <ac:chgData name="Thomas Stensitzki" userId="75cafe6b-2f2a-469b-85c4-eec3b9c972ba" providerId="ADAL" clId="{EF5284BB-E924-47D6-B186-EC378FA380D2}" dt="2023-05-25T11:22:11.956" v="4622" actId="6549"/>
          <ac:spMkLst>
            <pc:docMk/>
            <pc:sldMk cId="374091465" sldId="697"/>
            <ac:spMk id="3" creationId="{FE2F8A7A-FAB7-4887-6614-4A8D5C5BECFE}"/>
          </ac:spMkLst>
        </pc:spChg>
        <pc:picChg chg="add mod">
          <ac:chgData name="Thomas Stensitzki" userId="75cafe6b-2f2a-469b-85c4-eec3b9c972ba" providerId="ADAL" clId="{EF5284BB-E924-47D6-B186-EC378FA380D2}" dt="2023-05-25T11:22:27.379" v="4626" actId="1440"/>
          <ac:picMkLst>
            <pc:docMk/>
            <pc:sldMk cId="374091465" sldId="697"/>
            <ac:picMk id="8194" creationId="{D8DFAD9D-F2A4-D2DC-A41E-010BDAEC2A63}"/>
          </ac:picMkLst>
        </pc:picChg>
      </pc:sldChg>
      <pc:sldChg chg="modSp add">
        <pc:chgData name="Thomas Stensitzki" userId="75cafe6b-2f2a-469b-85c4-eec3b9c972ba" providerId="ADAL" clId="{EF5284BB-E924-47D6-B186-EC378FA380D2}" dt="2023-05-25T11:22:57.977" v="4635" actId="1440"/>
        <pc:sldMkLst>
          <pc:docMk/>
          <pc:sldMk cId="4258120031" sldId="698"/>
        </pc:sldMkLst>
        <pc:picChg chg="mod">
          <ac:chgData name="Thomas Stensitzki" userId="75cafe6b-2f2a-469b-85c4-eec3b9c972ba" providerId="ADAL" clId="{EF5284BB-E924-47D6-B186-EC378FA380D2}" dt="2023-05-25T11:22:57.977" v="4635" actId="1440"/>
          <ac:picMkLst>
            <pc:docMk/>
            <pc:sldMk cId="4258120031" sldId="698"/>
            <ac:picMk id="8194" creationId="{D8DFAD9D-F2A4-D2DC-A41E-010BDAEC2A63}"/>
          </ac:picMkLst>
        </pc:picChg>
      </pc:sldChg>
      <pc:sldChg chg="modSp add">
        <pc:chgData name="Thomas Stensitzki" userId="75cafe6b-2f2a-469b-85c4-eec3b9c972ba" providerId="ADAL" clId="{EF5284BB-E924-47D6-B186-EC378FA380D2}" dt="2023-05-25T11:22:59.921" v="4636" actId="1440"/>
        <pc:sldMkLst>
          <pc:docMk/>
          <pc:sldMk cId="2743116939" sldId="699"/>
        </pc:sldMkLst>
        <pc:picChg chg="mod">
          <ac:chgData name="Thomas Stensitzki" userId="75cafe6b-2f2a-469b-85c4-eec3b9c972ba" providerId="ADAL" clId="{EF5284BB-E924-47D6-B186-EC378FA380D2}" dt="2023-05-25T11:22:59.921" v="4636" actId="1440"/>
          <ac:picMkLst>
            <pc:docMk/>
            <pc:sldMk cId="2743116939" sldId="699"/>
            <ac:picMk id="8194" creationId="{D8DFAD9D-F2A4-D2DC-A41E-010BDAEC2A63}"/>
          </ac:picMkLst>
        </pc:picChg>
      </pc:sldChg>
      <pc:sldChg chg="modSp add mod modNotesTx">
        <pc:chgData name="Thomas Stensitzki" userId="75cafe6b-2f2a-469b-85c4-eec3b9c972ba" providerId="ADAL" clId="{EF5284BB-E924-47D6-B186-EC378FA380D2}" dt="2023-05-25T11:23:01.565" v="4637" actId="1440"/>
        <pc:sldMkLst>
          <pc:docMk/>
          <pc:sldMk cId="1230148335" sldId="700"/>
        </pc:sldMkLst>
        <pc:spChg chg="mod">
          <ac:chgData name="Thomas Stensitzki" userId="75cafe6b-2f2a-469b-85c4-eec3b9c972ba" providerId="ADAL" clId="{EF5284BB-E924-47D6-B186-EC378FA380D2}" dt="2023-05-16T14:31:40.468" v="2651"/>
          <ac:spMkLst>
            <pc:docMk/>
            <pc:sldMk cId="1230148335" sldId="700"/>
            <ac:spMk id="2" creationId="{3ADCC40F-C5BA-B284-3AF8-D6CC46FDD2EF}"/>
          </ac:spMkLst>
        </pc:spChg>
        <pc:picChg chg="mod">
          <ac:chgData name="Thomas Stensitzki" userId="75cafe6b-2f2a-469b-85c4-eec3b9c972ba" providerId="ADAL" clId="{EF5284BB-E924-47D6-B186-EC378FA380D2}" dt="2023-05-25T11:23:01.565" v="4637" actId="1440"/>
          <ac:picMkLst>
            <pc:docMk/>
            <pc:sldMk cId="1230148335" sldId="700"/>
            <ac:picMk id="8194" creationId="{D8DFAD9D-F2A4-D2DC-A41E-010BDAEC2A63}"/>
          </ac:picMkLst>
        </pc:picChg>
      </pc:sldChg>
      <pc:sldChg chg="modSp add mod modNotesTx">
        <pc:chgData name="Thomas Stensitzki" userId="75cafe6b-2f2a-469b-85c4-eec3b9c972ba" providerId="ADAL" clId="{EF5284BB-E924-47D6-B186-EC378FA380D2}" dt="2023-05-25T08:53:09.345" v="3984" actId="6549"/>
        <pc:sldMkLst>
          <pc:docMk/>
          <pc:sldMk cId="3896402637" sldId="701"/>
        </pc:sldMkLst>
        <pc:spChg chg="mod">
          <ac:chgData name="Thomas Stensitzki" userId="75cafe6b-2f2a-469b-85c4-eec3b9c972ba" providerId="ADAL" clId="{EF5284BB-E924-47D6-B186-EC378FA380D2}" dt="2023-05-16T14:32:47.859" v="2659"/>
          <ac:spMkLst>
            <pc:docMk/>
            <pc:sldMk cId="3896402637" sldId="701"/>
            <ac:spMk id="4" creationId="{D12969B4-351A-4517-A5B8-3E6AD9CDB206}"/>
          </ac:spMkLst>
        </pc:spChg>
        <pc:spChg chg="mod">
          <ac:chgData name="Thomas Stensitzki" userId="75cafe6b-2f2a-469b-85c4-eec3b9c972ba" providerId="ADAL" clId="{EF5284BB-E924-47D6-B186-EC378FA380D2}" dt="2023-05-16T14:45:50.635" v="2738" actId="20577"/>
          <ac:spMkLst>
            <pc:docMk/>
            <pc:sldMk cId="3896402637" sldId="701"/>
            <ac:spMk id="5" creationId="{C24DACB5-1BEC-4C86-9652-BAFD8DE56FEF}"/>
          </ac:spMkLst>
        </pc:spChg>
      </pc:sldChg>
      <pc:sldChg chg="addSp delSp modSp new mod modNotesTx">
        <pc:chgData name="Thomas Stensitzki" userId="75cafe6b-2f2a-469b-85c4-eec3b9c972ba" providerId="ADAL" clId="{EF5284BB-E924-47D6-B186-EC378FA380D2}" dt="2023-05-16T14:33:34.641" v="2667" actId="1076"/>
        <pc:sldMkLst>
          <pc:docMk/>
          <pc:sldMk cId="575615367" sldId="702"/>
        </pc:sldMkLst>
        <pc:spChg chg="mod">
          <ac:chgData name="Thomas Stensitzki" userId="75cafe6b-2f2a-469b-85c4-eec3b9c972ba" providerId="ADAL" clId="{EF5284BB-E924-47D6-B186-EC378FA380D2}" dt="2023-05-16T14:33:01.237" v="2662"/>
          <ac:spMkLst>
            <pc:docMk/>
            <pc:sldMk cId="575615367" sldId="702"/>
            <ac:spMk id="2" creationId="{0B60F266-922D-99F7-D541-BBA14D426F8B}"/>
          </ac:spMkLst>
        </pc:spChg>
        <pc:spChg chg="del">
          <ac:chgData name="Thomas Stensitzki" userId="75cafe6b-2f2a-469b-85c4-eec3b9c972ba" providerId="ADAL" clId="{EF5284BB-E924-47D6-B186-EC378FA380D2}" dt="2023-05-16T14:33:25.119" v="2664" actId="478"/>
          <ac:spMkLst>
            <pc:docMk/>
            <pc:sldMk cId="575615367" sldId="702"/>
            <ac:spMk id="3" creationId="{44E0BA56-BCAB-36DC-E686-EB6B76162AAE}"/>
          </ac:spMkLst>
        </pc:spChg>
        <pc:picChg chg="add mod">
          <ac:chgData name="Thomas Stensitzki" userId="75cafe6b-2f2a-469b-85c4-eec3b9c972ba" providerId="ADAL" clId="{EF5284BB-E924-47D6-B186-EC378FA380D2}" dt="2023-05-16T14:33:34.641" v="2667" actId="1076"/>
          <ac:picMkLst>
            <pc:docMk/>
            <pc:sldMk cId="575615367" sldId="702"/>
            <ac:picMk id="9218" creationId="{B962063C-80FB-2B0B-3700-99CBEE753EB0}"/>
          </ac:picMkLst>
        </pc:picChg>
      </pc:sldChg>
      <pc:sldChg chg="modSp add mod">
        <pc:chgData name="Thomas Stensitzki" userId="75cafe6b-2f2a-469b-85c4-eec3b9c972ba" providerId="ADAL" clId="{EF5284BB-E924-47D6-B186-EC378FA380D2}" dt="2023-05-16T14:46:17.842" v="2752" actId="20577"/>
        <pc:sldMkLst>
          <pc:docMk/>
          <pc:sldMk cId="4015570697" sldId="703"/>
        </pc:sldMkLst>
        <pc:spChg chg="mod">
          <ac:chgData name="Thomas Stensitzki" userId="75cafe6b-2f2a-469b-85c4-eec3b9c972ba" providerId="ADAL" clId="{EF5284BB-E924-47D6-B186-EC378FA380D2}" dt="2023-05-16T14:46:17.842" v="2752" actId="20577"/>
          <ac:spMkLst>
            <pc:docMk/>
            <pc:sldMk cId="4015570697" sldId="703"/>
            <ac:spMk id="5" creationId="{C24DACB5-1BEC-4C86-9652-BAFD8DE56FEF}"/>
          </ac:spMkLst>
        </pc:spChg>
      </pc:sldChg>
      <pc:sldChg chg="addSp delSp modSp new mod modNotesTx">
        <pc:chgData name="Thomas Stensitzki" userId="75cafe6b-2f2a-469b-85c4-eec3b9c972ba" providerId="ADAL" clId="{EF5284BB-E924-47D6-B186-EC378FA380D2}" dt="2023-05-25T11:23:03.720" v="4638" actId="1440"/>
        <pc:sldMkLst>
          <pc:docMk/>
          <pc:sldMk cId="1573460963" sldId="704"/>
        </pc:sldMkLst>
        <pc:spChg chg="mod">
          <ac:chgData name="Thomas Stensitzki" userId="75cafe6b-2f2a-469b-85c4-eec3b9c972ba" providerId="ADAL" clId="{EF5284BB-E924-47D6-B186-EC378FA380D2}" dt="2023-05-16T14:36:13.972" v="2673"/>
          <ac:spMkLst>
            <pc:docMk/>
            <pc:sldMk cId="1573460963" sldId="704"/>
            <ac:spMk id="2" creationId="{AD6E3B16-F04C-128A-EFFC-800D7EB25297}"/>
          </ac:spMkLst>
        </pc:spChg>
        <pc:spChg chg="del">
          <ac:chgData name="Thomas Stensitzki" userId="75cafe6b-2f2a-469b-85c4-eec3b9c972ba" providerId="ADAL" clId="{EF5284BB-E924-47D6-B186-EC378FA380D2}" dt="2023-05-16T14:36:11.447" v="2672" actId="478"/>
          <ac:spMkLst>
            <pc:docMk/>
            <pc:sldMk cId="1573460963" sldId="704"/>
            <ac:spMk id="3" creationId="{E974CDB4-86ED-6A6E-15FB-1E8BA4F27C76}"/>
          </ac:spMkLst>
        </pc:spChg>
        <pc:picChg chg="add mod">
          <ac:chgData name="Thomas Stensitzki" userId="75cafe6b-2f2a-469b-85c4-eec3b9c972ba" providerId="ADAL" clId="{EF5284BB-E924-47D6-B186-EC378FA380D2}" dt="2023-05-25T11:23:03.720" v="4638" actId="1440"/>
          <ac:picMkLst>
            <pc:docMk/>
            <pc:sldMk cId="1573460963" sldId="704"/>
            <ac:picMk id="10242" creationId="{A1868363-C841-3450-DD99-F972529BD3E6}"/>
          </ac:picMkLst>
        </pc:picChg>
      </pc:sldChg>
      <pc:sldChg chg="modSp add modNotesTx">
        <pc:chgData name="Thomas Stensitzki" userId="75cafe6b-2f2a-469b-85c4-eec3b9c972ba" providerId="ADAL" clId="{EF5284BB-E924-47D6-B186-EC378FA380D2}" dt="2023-05-25T11:24:13.149" v="4639" actId="1440"/>
        <pc:sldMkLst>
          <pc:docMk/>
          <pc:sldMk cId="2507653948" sldId="705"/>
        </pc:sldMkLst>
        <pc:picChg chg="mod">
          <ac:chgData name="Thomas Stensitzki" userId="75cafe6b-2f2a-469b-85c4-eec3b9c972ba" providerId="ADAL" clId="{EF5284BB-E924-47D6-B186-EC378FA380D2}" dt="2023-05-25T11:24:13.149" v="4639" actId="1440"/>
          <ac:picMkLst>
            <pc:docMk/>
            <pc:sldMk cId="2507653948" sldId="705"/>
            <ac:picMk id="10242" creationId="{A1868363-C841-3450-DD99-F972529BD3E6}"/>
          </ac:picMkLst>
        </pc:picChg>
      </pc:sldChg>
      <pc:sldChg chg="modSp new mod modNotesTx">
        <pc:chgData name="Thomas Stensitzki" userId="75cafe6b-2f2a-469b-85c4-eec3b9c972ba" providerId="ADAL" clId="{EF5284BB-E924-47D6-B186-EC378FA380D2}" dt="2023-05-25T11:32:15.188" v="5019" actId="790"/>
        <pc:sldMkLst>
          <pc:docMk/>
          <pc:sldMk cId="2812659098" sldId="706"/>
        </pc:sldMkLst>
        <pc:spChg chg="mod">
          <ac:chgData name="Thomas Stensitzki" userId="75cafe6b-2f2a-469b-85c4-eec3b9c972ba" providerId="ADAL" clId="{EF5284BB-E924-47D6-B186-EC378FA380D2}" dt="2023-05-25T08:53:17.460" v="3986" actId="20577"/>
          <ac:spMkLst>
            <pc:docMk/>
            <pc:sldMk cId="2812659098" sldId="706"/>
            <ac:spMk id="2" creationId="{C75EAFBD-6BA2-3743-4286-9F9C95CDEAD8}"/>
          </ac:spMkLst>
        </pc:spChg>
        <pc:spChg chg="mod">
          <ac:chgData name="Thomas Stensitzki" userId="75cafe6b-2f2a-469b-85c4-eec3b9c972ba" providerId="ADAL" clId="{EF5284BB-E924-47D6-B186-EC378FA380D2}" dt="2023-05-25T11:32:15.188" v="5019" actId="790"/>
          <ac:spMkLst>
            <pc:docMk/>
            <pc:sldMk cId="2812659098" sldId="706"/>
            <ac:spMk id="3" creationId="{DD63A7C4-FF42-483C-A957-EB2AD5563097}"/>
          </ac:spMkLst>
        </pc:spChg>
      </pc:sldChg>
      <pc:sldChg chg="addSp delSp modSp new mod">
        <pc:chgData name="Thomas Stensitzki" userId="75cafe6b-2f2a-469b-85c4-eec3b9c972ba" providerId="ADAL" clId="{EF5284BB-E924-47D6-B186-EC378FA380D2}" dt="2023-05-25T11:32:25.736" v="5020" actId="1440"/>
        <pc:sldMkLst>
          <pc:docMk/>
          <pc:sldMk cId="1687698883" sldId="707"/>
        </pc:sldMkLst>
        <pc:spChg chg="mod">
          <ac:chgData name="Thomas Stensitzki" userId="75cafe6b-2f2a-469b-85c4-eec3b9c972ba" providerId="ADAL" clId="{EF5284BB-E924-47D6-B186-EC378FA380D2}" dt="2023-05-16T14:40:55.019" v="2706"/>
          <ac:spMkLst>
            <pc:docMk/>
            <pc:sldMk cId="1687698883" sldId="707"/>
            <ac:spMk id="2" creationId="{6555D3F8-88B8-2602-E3EF-C287C90ED613}"/>
          </ac:spMkLst>
        </pc:spChg>
        <pc:spChg chg="del">
          <ac:chgData name="Thomas Stensitzki" userId="75cafe6b-2f2a-469b-85c4-eec3b9c972ba" providerId="ADAL" clId="{EF5284BB-E924-47D6-B186-EC378FA380D2}" dt="2023-05-16T14:41:13.350" v="2707" actId="478"/>
          <ac:spMkLst>
            <pc:docMk/>
            <pc:sldMk cId="1687698883" sldId="707"/>
            <ac:spMk id="3" creationId="{1C1D326C-8D85-2D26-1D2B-4728FD211C69}"/>
          </ac:spMkLst>
        </pc:spChg>
        <pc:picChg chg="add mod">
          <ac:chgData name="Thomas Stensitzki" userId="75cafe6b-2f2a-469b-85c4-eec3b9c972ba" providerId="ADAL" clId="{EF5284BB-E924-47D6-B186-EC378FA380D2}" dt="2023-05-25T11:32:25.736" v="5020" actId="1440"/>
          <ac:picMkLst>
            <pc:docMk/>
            <pc:sldMk cId="1687698883" sldId="707"/>
            <ac:picMk id="11266" creationId="{97E829A2-DBC1-9944-746A-6FBEE69B59F5}"/>
          </ac:picMkLst>
        </pc:picChg>
      </pc:sldChg>
      <pc:sldChg chg="addSp delSp modSp new mod modNotesTx">
        <pc:chgData name="Thomas Stensitzki" userId="75cafe6b-2f2a-469b-85c4-eec3b9c972ba" providerId="ADAL" clId="{EF5284BB-E924-47D6-B186-EC378FA380D2}" dt="2023-05-25T11:32:28.254" v="5021" actId="1440"/>
        <pc:sldMkLst>
          <pc:docMk/>
          <pc:sldMk cId="228026287" sldId="708"/>
        </pc:sldMkLst>
        <pc:spChg chg="mod">
          <ac:chgData name="Thomas Stensitzki" userId="75cafe6b-2f2a-469b-85c4-eec3b9c972ba" providerId="ADAL" clId="{EF5284BB-E924-47D6-B186-EC378FA380D2}" dt="2023-05-16T14:42:12.258" v="2713"/>
          <ac:spMkLst>
            <pc:docMk/>
            <pc:sldMk cId="228026287" sldId="708"/>
            <ac:spMk id="2" creationId="{788403FD-0877-7D1E-EDE8-8B812B526F3B}"/>
          </ac:spMkLst>
        </pc:spChg>
        <pc:spChg chg="del">
          <ac:chgData name="Thomas Stensitzki" userId="75cafe6b-2f2a-469b-85c4-eec3b9c972ba" providerId="ADAL" clId="{EF5284BB-E924-47D6-B186-EC378FA380D2}" dt="2023-05-16T14:42:53.827" v="2718" actId="478"/>
          <ac:spMkLst>
            <pc:docMk/>
            <pc:sldMk cId="228026287" sldId="708"/>
            <ac:spMk id="3" creationId="{7B0FCD7B-2582-5174-03AA-BB3529974F81}"/>
          </ac:spMkLst>
        </pc:spChg>
        <pc:picChg chg="add mod">
          <ac:chgData name="Thomas Stensitzki" userId="75cafe6b-2f2a-469b-85c4-eec3b9c972ba" providerId="ADAL" clId="{EF5284BB-E924-47D6-B186-EC378FA380D2}" dt="2023-05-25T11:32:28.254" v="5021" actId="1440"/>
          <ac:picMkLst>
            <pc:docMk/>
            <pc:sldMk cId="228026287" sldId="708"/>
            <ac:picMk id="12290" creationId="{FFC8777F-CE4D-E993-88D3-87973CE97509}"/>
          </ac:picMkLst>
        </pc:picChg>
      </pc:sldChg>
      <pc:sldChg chg="modSp add modNotesTx">
        <pc:chgData name="Thomas Stensitzki" userId="75cafe6b-2f2a-469b-85c4-eec3b9c972ba" providerId="ADAL" clId="{EF5284BB-E924-47D6-B186-EC378FA380D2}" dt="2023-05-25T11:32:31.136" v="5022" actId="1440"/>
        <pc:sldMkLst>
          <pc:docMk/>
          <pc:sldMk cId="110691181" sldId="709"/>
        </pc:sldMkLst>
        <pc:picChg chg="mod">
          <ac:chgData name="Thomas Stensitzki" userId="75cafe6b-2f2a-469b-85c4-eec3b9c972ba" providerId="ADAL" clId="{EF5284BB-E924-47D6-B186-EC378FA380D2}" dt="2023-05-25T11:32:31.136" v="5022" actId="1440"/>
          <ac:picMkLst>
            <pc:docMk/>
            <pc:sldMk cId="110691181" sldId="709"/>
            <ac:picMk id="12290" creationId="{FFC8777F-CE4D-E993-88D3-87973CE97509}"/>
          </ac:picMkLst>
        </pc:picChg>
      </pc:sldChg>
      <pc:sldChg chg="addSp modSp add mod modAnim">
        <pc:chgData name="Thomas Stensitzki" userId="75cafe6b-2f2a-469b-85c4-eec3b9c972ba" providerId="ADAL" clId="{EF5284BB-E924-47D6-B186-EC378FA380D2}" dt="2023-05-25T11:32:32.744" v="5023" actId="1440"/>
        <pc:sldMkLst>
          <pc:docMk/>
          <pc:sldMk cId="548134817" sldId="710"/>
        </pc:sldMkLst>
        <pc:spChg chg="add mod">
          <ac:chgData name="Thomas Stensitzki" userId="75cafe6b-2f2a-469b-85c4-eec3b9c972ba" providerId="ADAL" clId="{EF5284BB-E924-47D6-B186-EC378FA380D2}" dt="2023-05-25T08:55:49.823" v="3994" actId="1035"/>
          <ac:spMkLst>
            <pc:docMk/>
            <pc:sldMk cId="548134817" sldId="710"/>
            <ac:spMk id="5" creationId="{8521FE37-7C16-9553-EB5C-697BBEEE83FC}"/>
          </ac:spMkLst>
        </pc:spChg>
        <pc:picChg chg="add mod">
          <ac:chgData name="Thomas Stensitzki" userId="75cafe6b-2f2a-469b-85c4-eec3b9c972ba" providerId="ADAL" clId="{EF5284BB-E924-47D6-B186-EC378FA380D2}" dt="2023-05-25T08:55:20.363" v="3990" actId="1440"/>
          <ac:picMkLst>
            <pc:docMk/>
            <pc:sldMk cId="548134817" sldId="710"/>
            <ac:picMk id="4" creationId="{A1FE1530-011C-A2B2-D39F-4B3D9703E49A}"/>
          </ac:picMkLst>
        </pc:picChg>
        <pc:picChg chg="mod">
          <ac:chgData name="Thomas Stensitzki" userId="75cafe6b-2f2a-469b-85c4-eec3b9c972ba" providerId="ADAL" clId="{EF5284BB-E924-47D6-B186-EC378FA380D2}" dt="2023-05-25T11:32:32.744" v="5023" actId="1440"/>
          <ac:picMkLst>
            <pc:docMk/>
            <pc:sldMk cId="548134817" sldId="710"/>
            <ac:picMk id="12290" creationId="{FFC8777F-CE4D-E993-88D3-87973CE97509}"/>
          </ac:picMkLst>
        </pc:picChg>
      </pc:sldChg>
      <pc:sldChg chg="modSp add modNotesTx">
        <pc:chgData name="Thomas Stensitzki" userId="75cafe6b-2f2a-469b-85c4-eec3b9c972ba" providerId="ADAL" clId="{EF5284BB-E924-47D6-B186-EC378FA380D2}" dt="2023-05-25T11:32:35.293" v="5024" actId="1440"/>
        <pc:sldMkLst>
          <pc:docMk/>
          <pc:sldMk cId="3364405255" sldId="711"/>
        </pc:sldMkLst>
        <pc:picChg chg="mod">
          <ac:chgData name="Thomas Stensitzki" userId="75cafe6b-2f2a-469b-85c4-eec3b9c972ba" providerId="ADAL" clId="{EF5284BB-E924-47D6-B186-EC378FA380D2}" dt="2023-05-25T11:32:35.293" v="5024" actId="1440"/>
          <ac:picMkLst>
            <pc:docMk/>
            <pc:sldMk cId="3364405255" sldId="711"/>
            <ac:picMk id="12290" creationId="{FFC8777F-CE4D-E993-88D3-87973CE97509}"/>
          </ac:picMkLst>
        </pc:picChg>
      </pc:sldChg>
      <pc:sldChg chg="addSp delSp modSp new mod modClrScheme chgLayout">
        <pc:chgData name="Thomas Stensitzki" userId="75cafe6b-2f2a-469b-85c4-eec3b9c972ba" providerId="ADAL" clId="{EF5284BB-E924-47D6-B186-EC378FA380D2}" dt="2023-05-16T14:48:23.642" v="2841" actId="20577"/>
        <pc:sldMkLst>
          <pc:docMk/>
          <pc:sldMk cId="3869137616" sldId="712"/>
        </pc:sldMkLst>
        <pc:spChg chg="mod ord">
          <ac:chgData name="Thomas Stensitzki" userId="75cafe6b-2f2a-469b-85c4-eec3b9c972ba" providerId="ADAL" clId="{EF5284BB-E924-47D6-B186-EC378FA380D2}" dt="2023-05-16T14:46:35.555" v="2755" actId="700"/>
          <ac:spMkLst>
            <pc:docMk/>
            <pc:sldMk cId="3869137616" sldId="712"/>
            <ac:spMk id="2" creationId="{533FCBC7-C181-5F09-A7F2-ACA52E7F6BF1}"/>
          </ac:spMkLst>
        </pc:spChg>
        <pc:spChg chg="del mod ord">
          <ac:chgData name="Thomas Stensitzki" userId="75cafe6b-2f2a-469b-85c4-eec3b9c972ba" providerId="ADAL" clId="{EF5284BB-E924-47D6-B186-EC378FA380D2}" dt="2023-05-16T14:46:35.555" v="2755" actId="700"/>
          <ac:spMkLst>
            <pc:docMk/>
            <pc:sldMk cId="3869137616" sldId="712"/>
            <ac:spMk id="3" creationId="{C97B5998-3233-D192-497E-047E66BC1829}"/>
          </ac:spMkLst>
        </pc:spChg>
        <pc:spChg chg="add mod ord">
          <ac:chgData name="Thomas Stensitzki" userId="75cafe6b-2f2a-469b-85c4-eec3b9c972ba" providerId="ADAL" clId="{EF5284BB-E924-47D6-B186-EC378FA380D2}" dt="2023-05-16T14:47:26.630" v="2785" actId="20577"/>
          <ac:spMkLst>
            <pc:docMk/>
            <pc:sldMk cId="3869137616" sldId="712"/>
            <ac:spMk id="4" creationId="{DF3754FD-847B-D8A2-400E-86D68B8F9BDF}"/>
          </ac:spMkLst>
        </pc:spChg>
        <pc:spChg chg="add mod ord">
          <ac:chgData name="Thomas Stensitzki" userId="75cafe6b-2f2a-469b-85c4-eec3b9c972ba" providerId="ADAL" clId="{EF5284BB-E924-47D6-B186-EC378FA380D2}" dt="2023-05-16T14:47:20.616" v="2772" actId="404"/>
          <ac:spMkLst>
            <pc:docMk/>
            <pc:sldMk cId="3869137616" sldId="712"/>
            <ac:spMk id="5" creationId="{7C6EB10C-D83A-3222-54F4-1ED16FF66C95}"/>
          </ac:spMkLst>
        </pc:spChg>
        <pc:spChg chg="add mod ord">
          <ac:chgData name="Thomas Stensitzki" userId="75cafe6b-2f2a-469b-85c4-eec3b9c972ba" providerId="ADAL" clId="{EF5284BB-E924-47D6-B186-EC378FA380D2}" dt="2023-05-16T14:47:39.423" v="2821" actId="20577"/>
          <ac:spMkLst>
            <pc:docMk/>
            <pc:sldMk cId="3869137616" sldId="712"/>
            <ac:spMk id="6" creationId="{0BAFA6B4-8DAD-4531-CCD5-21069E23D345}"/>
          </ac:spMkLst>
        </pc:spChg>
        <pc:spChg chg="add mod ord">
          <ac:chgData name="Thomas Stensitzki" userId="75cafe6b-2f2a-469b-85c4-eec3b9c972ba" providerId="ADAL" clId="{EF5284BB-E924-47D6-B186-EC378FA380D2}" dt="2023-05-16T14:48:23.642" v="2841" actId="20577"/>
          <ac:spMkLst>
            <pc:docMk/>
            <pc:sldMk cId="3869137616" sldId="712"/>
            <ac:spMk id="7" creationId="{73713666-D3BA-EDBF-78B2-7FB3C3BF0E0C}"/>
          </ac:spMkLst>
        </pc:spChg>
      </pc:sldChg>
      <pc:sldChg chg="addSp delSp modSp new mod ord">
        <pc:chgData name="Thomas Stensitzki" userId="75cafe6b-2f2a-469b-85c4-eec3b9c972ba" providerId="ADAL" clId="{EF5284BB-E924-47D6-B186-EC378FA380D2}" dt="2023-05-16T15:22:05.935" v="2893" actId="1076"/>
        <pc:sldMkLst>
          <pc:docMk/>
          <pc:sldMk cId="1812240311" sldId="713"/>
        </pc:sldMkLst>
        <pc:spChg chg="mod">
          <ac:chgData name="Thomas Stensitzki" userId="75cafe6b-2f2a-469b-85c4-eec3b9c972ba" providerId="ADAL" clId="{EF5284BB-E924-47D6-B186-EC378FA380D2}" dt="2023-05-16T15:18:28.077" v="2867" actId="20577"/>
          <ac:spMkLst>
            <pc:docMk/>
            <pc:sldMk cId="1812240311" sldId="713"/>
            <ac:spMk id="2" creationId="{A3CA62FB-DB46-0E45-3C5F-8E0C30500E5E}"/>
          </ac:spMkLst>
        </pc:spChg>
        <pc:spChg chg="mod">
          <ac:chgData name="Thomas Stensitzki" userId="75cafe6b-2f2a-469b-85c4-eec3b9c972ba" providerId="ADAL" clId="{EF5284BB-E924-47D6-B186-EC378FA380D2}" dt="2023-05-16T15:18:56.571" v="2877" actId="20577"/>
          <ac:spMkLst>
            <pc:docMk/>
            <pc:sldMk cId="1812240311" sldId="713"/>
            <ac:spMk id="3" creationId="{378D6642-B57A-4DCD-57DC-824BF84E317B}"/>
          </ac:spMkLst>
        </pc:spChg>
        <pc:spChg chg="add del">
          <ac:chgData name="Thomas Stensitzki" userId="75cafe6b-2f2a-469b-85c4-eec3b9c972ba" providerId="ADAL" clId="{EF5284BB-E924-47D6-B186-EC378FA380D2}" dt="2023-05-16T15:20:30.015" v="2879"/>
          <ac:spMkLst>
            <pc:docMk/>
            <pc:sldMk cId="1812240311" sldId="713"/>
            <ac:spMk id="4" creationId="{90C119DD-546D-4C8F-BAB5-3B9B4BD50D96}"/>
          </ac:spMkLst>
        </pc:spChg>
        <pc:spChg chg="add del">
          <ac:chgData name="Thomas Stensitzki" userId="75cafe6b-2f2a-469b-85c4-eec3b9c972ba" providerId="ADAL" clId="{EF5284BB-E924-47D6-B186-EC378FA380D2}" dt="2023-05-16T15:21:26.044" v="2886"/>
          <ac:spMkLst>
            <pc:docMk/>
            <pc:sldMk cId="1812240311" sldId="713"/>
            <ac:spMk id="7" creationId="{3A9EB8CF-27DC-F07E-DD59-C9AC6E83D4D1}"/>
          </ac:spMkLst>
        </pc:spChg>
        <pc:picChg chg="add mod">
          <ac:chgData name="Thomas Stensitzki" userId="75cafe6b-2f2a-469b-85c4-eec3b9c972ba" providerId="ADAL" clId="{EF5284BB-E924-47D6-B186-EC378FA380D2}" dt="2023-05-16T15:22:05.935" v="2893" actId="1076"/>
          <ac:picMkLst>
            <pc:docMk/>
            <pc:sldMk cId="1812240311" sldId="713"/>
            <ac:picMk id="6" creationId="{477FC3E1-727F-5E20-0E76-2299F0D84443}"/>
          </ac:picMkLst>
        </pc:picChg>
        <pc:picChg chg="add mod">
          <ac:chgData name="Thomas Stensitzki" userId="75cafe6b-2f2a-469b-85c4-eec3b9c972ba" providerId="ADAL" clId="{EF5284BB-E924-47D6-B186-EC378FA380D2}" dt="2023-05-16T15:21:58.262" v="2892" actId="1440"/>
          <ac:picMkLst>
            <pc:docMk/>
            <pc:sldMk cId="1812240311" sldId="713"/>
            <ac:picMk id="9" creationId="{E0DAF901-7B5D-BD85-D20B-716E13CCAA02}"/>
          </ac:picMkLst>
        </pc:picChg>
      </pc:sldChg>
      <pc:sldChg chg="modNotesTx">
        <pc:chgData name="Thomas Stensitzki" userId="75cafe6b-2f2a-469b-85c4-eec3b9c972ba" providerId="ADAL" clId="{EF5284BB-E924-47D6-B186-EC378FA380D2}" dt="2023-05-25T08:53:04.970" v="3983" actId="6549"/>
        <pc:sldMkLst>
          <pc:docMk/>
          <pc:sldMk cId="286203048" sldId="722"/>
        </pc:sldMkLst>
      </pc:sldChg>
      <pc:sldChg chg="modSp mod modNotesTx">
        <pc:chgData name="Thomas Stensitzki" userId="75cafe6b-2f2a-469b-85c4-eec3b9c972ba" providerId="ADAL" clId="{EF5284BB-E924-47D6-B186-EC378FA380D2}" dt="2023-05-25T11:32:05.981" v="5017" actId="20577"/>
        <pc:sldMkLst>
          <pc:docMk/>
          <pc:sldMk cId="3113072159" sldId="723"/>
        </pc:sldMkLst>
        <pc:spChg chg="mod">
          <ac:chgData name="Thomas Stensitzki" userId="75cafe6b-2f2a-469b-85c4-eec3b9c972ba" providerId="ADAL" clId="{EF5284BB-E924-47D6-B186-EC378FA380D2}" dt="2023-05-25T11:32:05.981" v="5017" actId="20577"/>
          <ac:spMkLst>
            <pc:docMk/>
            <pc:sldMk cId="3113072159" sldId="723"/>
            <ac:spMk id="5" creationId="{C24DACB5-1BEC-4C86-9652-BAFD8DE56FEF}"/>
          </ac:spMkLst>
        </pc:spChg>
      </pc:sldChg>
      <pc:sldChg chg="modNotesTx">
        <pc:chgData name="Thomas Stensitzki" userId="75cafe6b-2f2a-469b-85c4-eec3b9c972ba" providerId="ADAL" clId="{EF5284BB-E924-47D6-B186-EC378FA380D2}" dt="2023-05-25T08:53:22.497" v="3987" actId="6549"/>
        <pc:sldMkLst>
          <pc:docMk/>
          <pc:sldMk cId="3469518411" sldId="724"/>
        </pc:sldMkLst>
      </pc:sldChg>
      <pc:sldChg chg="addSp delSp modSp new mod">
        <pc:chgData name="Thomas Stensitzki" userId="75cafe6b-2f2a-469b-85c4-eec3b9c972ba" providerId="ADAL" clId="{EF5284BB-E924-47D6-B186-EC378FA380D2}" dt="2023-05-25T09:05:00.807" v="4038" actId="20577"/>
        <pc:sldMkLst>
          <pc:docMk/>
          <pc:sldMk cId="2980570034" sldId="728"/>
        </pc:sldMkLst>
        <pc:spChg chg="mod">
          <ac:chgData name="Thomas Stensitzki" userId="75cafe6b-2f2a-469b-85c4-eec3b9c972ba" providerId="ADAL" clId="{EF5284BB-E924-47D6-B186-EC378FA380D2}" dt="2023-05-25T09:05:00.807" v="4038" actId="20577"/>
          <ac:spMkLst>
            <pc:docMk/>
            <pc:sldMk cId="2980570034" sldId="728"/>
            <ac:spMk id="2" creationId="{EBCC6F90-D660-44CF-8C48-0FC5E552542C}"/>
          </ac:spMkLst>
        </pc:spChg>
        <pc:spChg chg="del">
          <ac:chgData name="Thomas Stensitzki" userId="75cafe6b-2f2a-469b-85c4-eec3b9c972ba" providerId="ADAL" clId="{EF5284BB-E924-47D6-B186-EC378FA380D2}" dt="2023-05-25T06:49:09.005" v="3131" actId="478"/>
          <ac:spMkLst>
            <pc:docMk/>
            <pc:sldMk cId="2980570034" sldId="728"/>
            <ac:spMk id="3" creationId="{016F21C8-A6E3-875C-8698-762D193E9833}"/>
          </ac:spMkLst>
        </pc:spChg>
        <pc:spChg chg="add mod">
          <ac:chgData name="Thomas Stensitzki" userId="75cafe6b-2f2a-469b-85c4-eec3b9c972ba" providerId="ADAL" clId="{EF5284BB-E924-47D6-B186-EC378FA380D2}" dt="2023-05-25T06:49:41.260" v="3137" actId="13822"/>
          <ac:spMkLst>
            <pc:docMk/>
            <pc:sldMk cId="2980570034" sldId="728"/>
            <ac:spMk id="6" creationId="{3096331B-675E-ABF9-F155-9FF5C3E2A1FF}"/>
          </ac:spMkLst>
        </pc:spChg>
        <pc:picChg chg="add mod">
          <ac:chgData name="Thomas Stensitzki" userId="75cafe6b-2f2a-469b-85c4-eec3b9c972ba" providerId="ADAL" clId="{EF5284BB-E924-47D6-B186-EC378FA380D2}" dt="2023-05-25T06:49:15.900" v="3133" actId="1076"/>
          <ac:picMkLst>
            <pc:docMk/>
            <pc:sldMk cId="2980570034" sldId="728"/>
            <ac:picMk id="5" creationId="{AD92326E-0926-2640-9D9E-16E1A55E92B4}"/>
          </ac:picMkLst>
        </pc:picChg>
      </pc:sldChg>
      <pc:sldChg chg="addSp delSp modSp add mod modAnim">
        <pc:chgData name="Thomas Stensitzki" userId="75cafe6b-2f2a-469b-85c4-eec3b9c972ba" providerId="ADAL" clId="{EF5284BB-E924-47D6-B186-EC378FA380D2}" dt="2023-05-25T06:54:10.351" v="3181"/>
        <pc:sldMkLst>
          <pc:docMk/>
          <pc:sldMk cId="3577359359" sldId="729"/>
        </pc:sldMkLst>
        <pc:spChg chg="add mod">
          <ac:chgData name="Thomas Stensitzki" userId="75cafe6b-2f2a-469b-85c4-eec3b9c972ba" providerId="ADAL" clId="{EF5284BB-E924-47D6-B186-EC378FA380D2}" dt="2023-05-25T06:53:31.111" v="3171" actId="1036"/>
          <ac:spMkLst>
            <pc:docMk/>
            <pc:sldMk cId="3577359359" sldId="729"/>
            <ac:spMk id="9" creationId="{045AF8AB-1B01-2C2D-63C0-F7173631EFA4}"/>
          </ac:spMkLst>
        </pc:spChg>
        <pc:spChg chg="add mod">
          <ac:chgData name="Thomas Stensitzki" userId="75cafe6b-2f2a-469b-85c4-eec3b9c972ba" providerId="ADAL" clId="{EF5284BB-E924-47D6-B186-EC378FA380D2}" dt="2023-05-25T06:53:36.972" v="3173" actId="1076"/>
          <ac:spMkLst>
            <pc:docMk/>
            <pc:sldMk cId="3577359359" sldId="729"/>
            <ac:spMk id="10" creationId="{9BEF5ED1-CC4C-D87B-F6E5-601D116A93BD}"/>
          </ac:spMkLst>
        </pc:spChg>
        <pc:spChg chg="add mod">
          <ac:chgData name="Thomas Stensitzki" userId="75cafe6b-2f2a-469b-85c4-eec3b9c972ba" providerId="ADAL" clId="{EF5284BB-E924-47D6-B186-EC378FA380D2}" dt="2023-05-25T06:53:44.108" v="3175" actId="1076"/>
          <ac:spMkLst>
            <pc:docMk/>
            <pc:sldMk cId="3577359359" sldId="729"/>
            <ac:spMk id="11" creationId="{DCFDD116-19CF-5F61-3A5E-6DD568286ABD}"/>
          </ac:spMkLst>
        </pc:spChg>
        <pc:picChg chg="del">
          <ac:chgData name="Thomas Stensitzki" userId="75cafe6b-2f2a-469b-85c4-eec3b9c972ba" providerId="ADAL" clId="{EF5284BB-E924-47D6-B186-EC378FA380D2}" dt="2023-05-25T06:52:14.524" v="3153" actId="478"/>
          <ac:picMkLst>
            <pc:docMk/>
            <pc:sldMk cId="3577359359" sldId="729"/>
            <ac:picMk id="3" creationId="{81874EEF-EFDE-0FC8-6A52-AA7BDF521F73}"/>
          </ac:picMkLst>
        </pc:picChg>
        <pc:picChg chg="add del">
          <ac:chgData name="Thomas Stensitzki" userId="75cafe6b-2f2a-469b-85c4-eec3b9c972ba" providerId="ADAL" clId="{EF5284BB-E924-47D6-B186-EC378FA380D2}" dt="2023-05-25T06:52:34.844" v="3155" actId="22"/>
          <ac:picMkLst>
            <pc:docMk/>
            <pc:sldMk cId="3577359359" sldId="729"/>
            <ac:picMk id="5" creationId="{B970152A-E001-3BF7-AECA-120E2071281E}"/>
          </ac:picMkLst>
        </pc:picChg>
        <pc:picChg chg="add mod">
          <ac:chgData name="Thomas Stensitzki" userId="75cafe6b-2f2a-469b-85c4-eec3b9c972ba" providerId="ADAL" clId="{EF5284BB-E924-47D6-B186-EC378FA380D2}" dt="2023-05-25T06:52:57.427" v="3159" actId="1440"/>
          <ac:picMkLst>
            <pc:docMk/>
            <pc:sldMk cId="3577359359" sldId="729"/>
            <ac:picMk id="8" creationId="{842933A2-0B4C-8856-EEB3-8FDA0D363F8F}"/>
          </ac:picMkLst>
        </pc:picChg>
      </pc:sldChg>
      <pc:sldChg chg="modSp add mod">
        <pc:chgData name="Thomas Stensitzki" userId="75cafe6b-2f2a-469b-85c4-eec3b9c972ba" providerId="ADAL" clId="{EF5284BB-E924-47D6-B186-EC378FA380D2}" dt="2023-05-25T06:51:42.608" v="3151" actId="14826"/>
        <pc:sldMkLst>
          <pc:docMk/>
          <pc:sldMk cId="1502079206" sldId="730"/>
        </pc:sldMkLst>
        <pc:picChg chg="mod">
          <ac:chgData name="Thomas Stensitzki" userId="75cafe6b-2f2a-469b-85c4-eec3b9c972ba" providerId="ADAL" clId="{EF5284BB-E924-47D6-B186-EC378FA380D2}" dt="2023-05-25T06:51:42.608" v="3151" actId="14826"/>
          <ac:picMkLst>
            <pc:docMk/>
            <pc:sldMk cId="1502079206" sldId="730"/>
            <ac:picMk id="5" creationId="{59007772-8755-0B09-0B61-A2C5D858E370}"/>
          </ac:picMkLst>
        </pc:picChg>
      </pc:sldChg>
      <pc:sldChg chg="modSp add mod ord modNotesTx">
        <pc:chgData name="Thomas Stensitzki" userId="75cafe6b-2f2a-469b-85c4-eec3b9c972ba" providerId="ADAL" clId="{EF5284BB-E924-47D6-B186-EC378FA380D2}" dt="2023-05-25T08:52:24.186" v="3981" actId="6549"/>
        <pc:sldMkLst>
          <pc:docMk/>
          <pc:sldMk cId="1769890538" sldId="731"/>
        </pc:sldMkLst>
        <pc:spChg chg="mod">
          <ac:chgData name="Thomas Stensitzki" userId="75cafe6b-2f2a-469b-85c4-eec3b9c972ba" providerId="ADAL" clId="{EF5284BB-E924-47D6-B186-EC378FA380D2}" dt="2023-05-25T08:49:33.970" v="3942" actId="14100"/>
          <ac:spMkLst>
            <pc:docMk/>
            <pc:sldMk cId="1769890538" sldId="731"/>
            <ac:spMk id="2" creationId="{909DC09D-B9A6-4493-9A72-1CA7ECB1F5CA}"/>
          </ac:spMkLst>
        </pc:spChg>
      </pc:sldChg>
      <pc:sldChg chg="new del">
        <pc:chgData name="Thomas Stensitzki" userId="75cafe6b-2f2a-469b-85c4-eec3b9c972ba" providerId="ADAL" clId="{EF5284BB-E924-47D6-B186-EC378FA380D2}" dt="2023-05-25T06:53:08.185" v="3160" actId="47"/>
        <pc:sldMkLst>
          <pc:docMk/>
          <pc:sldMk cId="3255802641" sldId="731"/>
        </pc:sldMkLst>
      </pc:sldChg>
      <pc:sldChg chg="modSp add mod ord modNotesTx">
        <pc:chgData name="Thomas Stensitzki" userId="75cafe6b-2f2a-469b-85c4-eec3b9c972ba" providerId="ADAL" clId="{EF5284BB-E924-47D6-B186-EC378FA380D2}" dt="2023-05-25T08:52:21.001" v="3980" actId="6549"/>
        <pc:sldMkLst>
          <pc:docMk/>
          <pc:sldMk cId="2791390437" sldId="732"/>
        </pc:sldMkLst>
        <pc:spChg chg="mod">
          <ac:chgData name="Thomas Stensitzki" userId="75cafe6b-2f2a-469b-85c4-eec3b9c972ba" providerId="ADAL" clId="{EF5284BB-E924-47D6-B186-EC378FA380D2}" dt="2023-05-25T08:49:49.834" v="3949" actId="1035"/>
          <ac:spMkLst>
            <pc:docMk/>
            <pc:sldMk cId="2791390437" sldId="732"/>
            <ac:spMk id="2" creationId="{909DC09D-B9A6-4493-9A72-1CA7ECB1F5CA}"/>
          </ac:spMkLst>
        </pc:spChg>
        <pc:spChg chg="mod">
          <ac:chgData name="Thomas Stensitzki" userId="75cafe6b-2f2a-469b-85c4-eec3b9c972ba" providerId="ADAL" clId="{EF5284BB-E924-47D6-B186-EC378FA380D2}" dt="2023-05-25T08:52:19.193" v="3979" actId="1076"/>
          <ac:spMkLst>
            <pc:docMk/>
            <pc:sldMk cId="2791390437" sldId="732"/>
            <ac:spMk id="5" creationId="{C24DACB5-1BEC-4C86-9652-BAFD8DE56FEF}"/>
          </ac:spMkLst>
        </pc:spChg>
      </pc:sldChg>
      <pc:sldChg chg="modSp add mod ord modNotesTx">
        <pc:chgData name="Thomas Stensitzki" userId="75cafe6b-2f2a-469b-85c4-eec3b9c972ba" providerId="ADAL" clId="{EF5284BB-E924-47D6-B186-EC378FA380D2}" dt="2023-05-25T08:52:10.970" v="3977" actId="6549"/>
        <pc:sldMkLst>
          <pc:docMk/>
          <pc:sldMk cId="1361695656" sldId="733"/>
        </pc:sldMkLst>
        <pc:spChg chg="mod">
          <ac:chgData name="Thomas Stensitzki" userId="75cafe6b-2f2a-469b-85c4-eec3b9c972ba" providerId="ADAL" clId="{EF5284BB-E924-47D6-B186-EC378FA380D2}" dt="2023-05-25T08:51:55.609" v="3974" actId="1076"/>
          <ac:spMkLst>
            <pc:docMk/>
            <pc:sldMk cId="1361695656" sldId="733"/>
            <ac:spMk id="2" creationId="{909DC09D-B9A6-4493-9A72-1CA7ECB1F5CA}"/>
          </ac:spMkLst>
        </pc:spChg>
      </pc:sldChg>
      <pc:sldChg chg="modSp add mod ord modNotesTx">
        <pc:chgData name="Thomas Stensitzki" userId="75cafe6b-2f2a-469b-85c4-eec3b9c972ba" providerId="ADAL" clId="{EF5284BB-E924-47D6-B186-EC378FA380D2}" dt="2023-05-25T08:52:15.995" v="3978" actId="6549"/>
        <pc:sldMkLst>
          <pc:docMk/>
          <pc:sldMk cId="2251038635" sldId="734"/>
        </pc:sldMkLst>
        <pc:spChg chg="mod">
          <ac:chgData name="Thomas Stensitzki" userId="75cafe6b-2f2a-469b-85c4-eec3b9c972ba" providerId="ADAL" clId="{EF5284BB-E924-47D6-B186-EC378FA380D2}" dt="2023-05-25T08:51:37.875" v="3969" actId="14100"/>
          <ac:spMkLst>
            <pc:docMk/>
            <pc:sldMk cId="2251038635" sldId="734"/>
            <ac:spMk id="2" creationId="{909DC09D-B9A6-4493-9A72-1CA7ECB1F5CA}"/>
          </ac:spMkLst>
        </pc:spChg>
      </pc:sldChg>
      <pc:sldChg chg="add modNotesTx">
        <pc:chgData name="Thomas Stensitzki" userId="75cafe6b-2f2a-469b-85c4-eec3b9c972ba" providerId="ADAL" clId="{EF5284BB-E924-47D6-B186-EC378FA380D2}" dt="2023-05-25T08:52:05.452" v="3976" actId="6549"/>
        <pc:sldMkLst>
          <pc:docMk/>
          <pc:sldMk cId="1632201943" sldId="735"/>
        </pc:sldMkLst>
      </pc:sldChg>
      <pc:sldChg chg="addSp delSp modSp new mod modClrScheme chgLayout">
        <pc:chgData name="Thomas Stensitzki" userId="75cafe6b-2f2a-469b-85c4-eec3b9c972ba" providerId="ADAL" clId="{EF5284BB-E924-47D6-B186-EC378FA380D2}" dt="2023-05-25T10:56:19.032" v="4307" actId="20577"/>
        <pc:sldMkLst>
          <pc:docMk/>
          <pc:sldMk cId="974887325" sldId="736"/>
        </pc:sldMkLst>
        <pc:spChg chg="del mod ord">
          <ac:chgData name="Thomas Stensitzki" userId="75cafe6b-2f2a-469b-85c4-eec3b9c972ba" providerId="ADAL" clId="{EF5284BB-E924-47D6-B186-EC378FA380D2}" dt="2023-05-25T09:13:23.898" v="4083" actId="700"/>
          <ac:spMkLst>
            <pc:docMk/>
            <pc:sldMk cId="974887325" sldId="736"/>
            <ac:spMk id="2" creationId="{22D2F5C2-4141-88F0-E00A-850CAEEC3BF9}"/>
          </ac:spMkLst>
        </pc:spChg>
        <pc:spChg chg="del">
          <ac:chgData name="Thomas Stensitzki" userId="75cafe6b-2f2a-469b-85c4-eec3b9c972ba" providerId="ADAL" clId="{EF5284BB-E924-47D6-B186-EC378FA380D2}" dt="2023-05-25T09:13:23.898" v="4083" actId="700"/>
          <ac:spMkLst>
            <pc:docMk/>
            <pc:sldMk cId="974887325" sldId="736"/>
            <ac:spMk id="3" creationId="{D5E705F6-1567-2F86-0590-8909C4093FC0}"/>
          </ac:spMkLst>
        </pc:spChg>
        <pc:spChg chg="add mod ord">
          <ac:chgData name="Thomas Stensitzki" userId="75cafe6b-2f2a-469b-85c4-eec3b9c972ba" providerId="ADAL" clId="{EF5284BB-E924-47D6-B186-EC378FA380D2}" dt="2023-05-25T10:56:19.032" v="4307" actId="20577"/>
          <ac:spMkLst>
            <pc:docMk/>
            <pc:sldMk cId="974887325" sldId="736"/>
            <ac:spMk id="4" creationId="{F4D7CAFB-9D55-07E7-22A0-3B4C1A31EE0D}"/>
          </ac:spMkLst>
        </pc:spChg>
        <pc:spChg chg="add del">
          <ac:chgData name="Thomas Stensitzki" userId="75cafe6b-2f2a-469b-85c4-eec3b9c972ba" providerId="ADAL" clId="{EF5284BB-E924-47D6-B186-EC378FA380D2}" dt="2023-05-25T09:13:34.558" v="4102" actId="22"/>
          <ac:spMkLst>
            <pc:docMk/>
            <pc:sldMk cId="974887325" sldId="736"/>
            <ac:spMk id="6" creationId="{CD59AAF2-395D-3C1F-BF47-505F235EDACA}"/>
          </ac:spMkLst>
        </pc:spChg>
        <pc:spChg chg="add mod">
          <ac:chgData name="Thomas Stensitzki" userId="75cafe6b-2f2a-469b-85c4-eec3b9c972ba" providerId="ADAL" clId="{EF5284BB-E924-47D6-B186-EC378FA380D2}" dt="2023-05-25T10:56:03.160" v="4282" actId="14100"/>
          <ac:spMkLst>
            <pc:docMk/>
            <pc:sldMk cId="974887325" sldId="736"/>
            <ac:spMk id="10" creationId="{6D202211-02D3-EA1B-3A5B-03B37CEE7167}"/>
          </ac:spMkLst>
        </pc:spChg>
        <pc:spChg chg="add mod">
          <ac:chgData name="Thomas Stensitzki" userId="75cafe6b-2f2a-469b-85c4-eec3b9c972ba" providerId="ADAL" clId="{EF5284BB-E924-47D6-B186-EC378FA380D2}" dt="2023-05-25T10:56:14.512" v="4291" actId="14100"/>
          <ac:spMkLst>
            <pc:docMk/>
            <pc:sldMk cId="974887325" sldId="736"/>
            <ac:spMk id="11" creationId="{4EEC3F54-98C7-61CC-A880-22E32440EC08}"/>
          </ac:spMkLst>
        </pc:spChg>
        <pc:picChg chg="add mod">
          <ac:chgData name="Thomas Stensitzki" userId="75cafe6b-2f2a-469b-85c4-eec3b9c972ba" providerId="ADAL" clId="{EF5284BB-E924-47D6-B186-EC378FA380D2}" dt="2023-05-25T10:55:28.080" v="4274" actId="1076"/>
          <ac:picMkLst>
            <pc:docMk/>
            <pc:sldMk cId="974887325" sldId="736"/>
            <ac:picMk id="8" creationId="{1C26A925-17EC-0C90-D134-C8E7DC796406}"/>
          </ac:picMkLst>
        </pc:picChg>
        <pc:picChg chg="add mod">
          <ac:chgData name="Thomas Stensitzki" userId="75cafe6b-2f2a-469b-85c4-eec3b9c972ba" providerId="ADAL" clId="{EF5284BB-E924-47D6-B186-EC378FA380D2}" dt="2023-05-25T10:55:33.160" v="4275" actId="1076"/>
          <ac:picMkLst>
            <pc:docMk/>
            <pc:sldMk cId="974887325" sldId="736"/>
            <ac:picMk id="9" creationId="{0966EED6-3B95-2545-0756-423F67702984}"/>
          </ac:picMkLst>
        </pc:picChg>
      </pc:sldChg>
      <pc:sldChg chg="addSp delSp modSp add mod">
        <pc:chgData name="Thomas Stensitzki" userId="75cafe6b-2f2a-469b-85c4-eec3b9c972ba" providerId="ADAL" clId="{EF5284BB-E924-47D6-B186-EC378FA380D2}" dt="2023-05-25T10:50:53.853" v="4249"/>
        <pc:sldMkLst>
          <pc:docMk/>
          <pc:sldMk cId="158289274" sldId="737"/>
        </pc:sldMkLst>
        <pc:spChg chg="mod">
          <ac:chgData name="Thomas Stensitzki" userId="75cafe6b-2f2a-469b-85c4-eec3b9c972ba" providerId="ADAL" clId="{EF5284BB-E924-47D6-B186-EC378FA380D2}" dt="2023-05-25T10:50:53.853" v="4249"/>
          <ac:spMkLst>
            <pc:docMk/>
            <pc:sldMk cId="158289274" sldId="737"/>
            <ac:spMk id="4" creationId="{F4D7CAFB-9D55-07E7-22A0-3B4C1A31EE0D}"/>
          </ac:spMkLst>
        </pc:spChg>
        <pc:spChg chg="add mod">
          <ac:chgData name="Thomas Stensitzki" userId="75cafe6b-2f2a-469b-85c4-eec3b9c972ba" providerId="ADAL" clId="{EF5284BB-E924-47D6-B186-EC378FA380D2}" dt="2023-05-25T10:41:39.581" v="4112" actId="1076"/>
          <ac:spMkLst>
            <pc:docMk/>
            <pc:sldMk cId="158289274" sldId="737"/>
            <ac:spMk id="5" creationId="{4A676B6A-8119-39F2-AA45-C85912C80633}"/>
          </ac:spMkLst>
        </pc:spChg>
        <pc:picChg chg="add mod">
          <ac:chgData name="Thomas Stensitzki" userId="75cafe6b-2f2a-469b-85c4-eec3b9c972ba" providerId="ADAL" clId="{EF5284BB-E924-47D6-B186-EC378FA380D2}" dt="2023-05-25T10:41:27.973" v="4110" actId="1440"/>
          <ac:picMkLst>
            <pc:docMk/>
            <pc:sldMk cId="158289274" sldId="737"/>
            <ac:picMk id="3" creationId="{F1BCB3D8-BFD9-C141-E96B-704DFFC3D2F8}"/>
          </ac:picMkLst>
        </pc:picChg>
        <pc:picChg chg="del">
          <ac:chgData name="Thomas Stensitzki" userId="75cafe6b-2f2a-469b-85c4-eec3b9c972ba" providerId="ADAL" clId="{EF5284BB-E924-47D6-B186-EC378FA380D2}" dt="2023-05-25T10:41:23.827" v="4109" actId="478"/>
          <ac:picMkLst>
            <pc:docMk/>
            <pc:sldMk cId="158289274" sldId="737"/>
            <ac:picMk id="8" creationId="{1C26A925-17EC-0C90-D134-C8E7DC796406}"/>
          </ac:picMkLst>
        </pc:picChg>
      </pc:sldChg>
      <pc:sldChg chg="addSp delSp modSp add mod modAnim">
        <pc:chgData name="Thomas Stensitzki" userId="75cafe6b-2f2a-469b-85c4-eec3b9c972ba" providerId="ADAL" clId="{EF5284BB-E924-47D6-B186-EC378FA380D2}" dt="2023-05-25T10:50:47.308" v="4248" actId="20577"/>
        <pc:sldMkLst>
          <pc:docMk/>
          <pc:sldMk cId="4000776221" sldId="738"/>
        </pc:sldMkLst>
        <pc:spChg chg="mod">
          <ac:chgData name="Thomas Stensitzki" userId="75cafe6b-2f2a-469b-85c4-eec3b9c972ba" providerId="ADAL" clId="{EF5284BB-E924-47D6-B186-EC378FA380D2}" dt="2023-05-25T10:50:47.308" v="4248" actId="20577"/>
          <ac:spMkLst>
            <pc:docMk/>
            <pc:sldMk cId="4000776221" sldId="738"/>
            <ac:spMk id="4" creationId="{F4D7CAFB-9D55-07E7-22A0-3B4C1A31EE0D}"/>
          </ac:spMkLst>
        </pc:spChg>
        <pc:spChg chg="del">
          <ac:chgData name="Thomas Stensitzki" userId="75cafe6b-2f2a-469b-85c4-eec3b9c972ba" providerId="ADAL" clId="{EF5284BB-E924-47D6-B186-EC378FA380D2}" dt="2023-05-25T10:43:02.174" v="4115" actId="478"/>
          <ac:spMkLst>
            <pc:docMk/>
            <pc:sldMk cId="4000776221" sldId="738"/>
            <ac:spMk id="5" creationId="{4A676B6A-8119-39F2-AA45-C85912C80633}"/>
          </ac:spMkLst>
        </pc:spChg>
        <pc:spChg chg="add mod">
          <ac:chgData name="Thomas Stensitzki" userId="75cafe6b-2f2a-469b-85c4-eec3b9c972ba" providerId="ADAL" clId="{EF5284BB-E924-47D6-B186-EC378FA380D2}" dt="2023-05-25T10:44:10.756" v="4125" actId="1076"/>
          <ac:spMkLst>
            <pc:docMk/>
            <pc:sldMk cId="4000776221" sldId="738"/>
            <ac:spMk id="11" creationId="{F26EBBF3-A4D6-937E-577F-B85D141F9B93}"/>
          </ac:spMkLst>
        </pc:spChg>
        <pc:spChg chg="add mod">
          <ac:chgData name="Thomas Stensitzki" userId="75cafe6b-2f2a-469b-85c4-eec3b9c972ba" providerId="ADAL" clId="{EF5284BB-E924-47D6-B186-EC378FA380D2}" dt="2023-05-25T10:44:17.094" v="4127" actId="1076"/>
          <ac:spMkLst>
            <pc:docMk/>
            <pc:sldMk cId="4000776221" sldId="738"/>
            <ac:spMk id="12" creationId="{231AA4EB-E5A8-29F5-2B4B-0560726EF6E2}"/>
          </ac:spMkLst>
        </pc:spChg>
        <pc:picChg chg="del">
          <ac:chgData name="Thomas Stensitzki" userId="75cafe6b-2f2a-469b-85c4-eec3b9c972ba" providerId="ADAL" clId="{EF5284BB-E924-47D6-B186-EC378FA380D2}" dt="2023-05-25T10:43:01.342" v="4114" actId="478"/>
          <ac:picMkLst>
            <pc:docMk/>
            <pc:sldMk cId="4000776221" sldId="738"/>
            <ac:picMk id="3" creationId="{F1BCB3D8-BFD9-C141-E96B-704DFFC3D2F8}"/>
          </ac:picMkLst>
        </pc:picChg>
        <pc:picChg chg="add mod">
          <ac:chgData name="Thomas Stensitzki" userId="75cafe6b-2f2a-469b-85c4-eec3b9c972ba" providerId="ADAL" clId="{EF5284BB-E924-47D6-B186-EC378FA380D2}" dt="2023-05-25T10:43:10.358" v="4117" actId="1076"/>
          <ac:picMkLst>
            <pc:docMk/>
            <pc:sldMk cId="4000776221" sldId="738"/>
            <ac:picMk id="6" creationId="{C052585C-3202-F8FE-58C6-E2E32451DB66}"/>
          </ac:picMkLst>
        </pc:picChg>
        <pc:picChg chg="add mod">
          <ac:chgData name="Thomas Stensitzki" userId="75cafe6b-2f2a-469b-85c4-eec3b9c972ba" providerId="ADAL" clId="{EF5284BB-E924-47D6-B186-EC378FA380D2}" dt="2023-05-25T10:43:54.284" v="4122" actId="1076"/>
          <ac:picMkLst>
            <pc:docMk/>
            <pc:sldMk cId="4000776221" sldId="738"/>
            <ac:picMk id="8" creationId="{C1D03CE0-F240-9606-3318-E38DF48E9344}"/>
          </ac:picMkLst>
        </pc:picChg>
        <pc:picChg chg="add mod">
          <ac:chgData name="Thomas Stensitzki" userId="75cafe6b-2f2a-469b-85c4-eec3b9c972ba" providerId="ADAL" clId="{EF5284BB-E924-47D6-B186-EC378FA380D2}" dt="2023-05-25T10:43:51.620" v="4121" actId="1076"/>
          <ac:picMkLst>
            <pc:docMk/>
            <pc:sldMk cId="4000776221" sldId="738"/>
            <ac:picMk id="10" creationId="{048BC0EE-2844-9215-CF12-60613B89D82F}"/>
          </ac:picMkLst>
        </pc:picChg>
      </pc:sldChg>
      <pc:sldChg chg="addSp modSp new mod">
        <pc:chgData name="Thomas Stensitzki" userId="75cafe6b-2f2a-469b-85c4-eec3b9c972ba" providerId="ADAL" clId="{EF5284BB-E924-47D6-B186-EC378FA380D2}" dt="2023-05-25T10:50:36.011" v="4220" actId="14100"/>
        <pc:sldMkLst>
          <pc:docMk/>
          <pc:sldMk cId="3492126300" sldId="739"/>
        </pc:sldMkLst>
        <pc:spChg chg="mod">
          <ac:chgData name="Thomas Stensitzki" userId="75cafe6b-2f2a-469b-85c4-eec3b9c972ba" providerId="ADAL" clId="{EF5284BB-E924-47D6-B186-EC378FA380D2}" dt="2023-05-25T10:50:36.011" v="4220" actId="14100"/>
          <ac:spMkLst>
            <pc:docMk/>
            <pc:sldMk cId="3492126300" sldId="739"/>
            <ac:spMk id="2" creationId="{97E9250D-524B-948F-90E6-D89A9976E4AA}"/>
          </ac:spMkLst>
        </pc:spChg>
        <pc:spChg chg="add mod">
          <ac:chgData name="Thomas Stensitzki" userId="75cafe6b-2f2a-469b-85c4-eec3b9c972ba" providerId="ADAL" clId="{EF5284BB-E924-47D6-B186-EC378FA380D2}" dt="2023-05-25T10:46:50.501" v="4136" actId="1076"/>
          <ac:spMkLst>
            <pc:docMk/>
            <pc:sldMk cId="3492126300" sldId="739"/>
            <ac:spMk id="5" creationId="{ADCF37D5-4EA9-883F-517A-E718D8E63997}"/>
          </ac:spMkLst>
        </pc:spChg>
        <pc:picChg chg="add mod">
          <ac:chgData name="Thomas Stensitzki" userId="75cafe6b-2f2a-469b-85c4-eec3b9c972ba" providerId="ADAL" clId="{EF5284BB-E924-47D6-B186-EC378FA380D2}" dt="2023-05-25T10:46:41.303" v="4134" actId="1440"/>
          <ac:picMkLst>
            <pc:docMk/>
            <pc:sldMk cId="3492126300" sldId="739"/>
            <ac:picMk id="4" creationId="{C6607B7A-3798-4A71-F249-F7168E62DE91}"/>
          </ac:picMkLst>
        </pc:picChg>
      </pc:sldChg>
      <pc:sldChg chg="addSp delSp modSp add mod">
        <pc:chgData name="Thomas Stensitzki" userId="75cafe6b-2f2a-469b-85c4-eec3b9c972ba" providerId="ADAL" clId="{EF5284BB-E924-47D6-B186-EC378FA380D2}" dt="2023-05-25T10:50:10.650" v="4176" actId="20577"/>
        <pc:sldMkLst>
          <pc:docMk/>
          <pc:sldMk cId="4097662530" sldId="740"/>
        </pc:sldMkLst>
        <pc:spChg chg="mod">
          <ac:chgData name="Thomas Stensitzki" userId="75cafe6b-2f2a-469b-85c4-eec3b9c972ba" providerId="ADAL" clId="{EF5284BB-E924-47D6-B186-EC378FA380D2}" dt="2023-05-25T10:50:10.650" v="4176" actId="20577"/>
          <ac:spMkLst>
            <pc:docMk/>
            <pc:sldMk cId="4097662530" sldId="740"/>
            <ac:spMk id="2" creationId="{97E9250D-524B-948F-90E6-D89A9976E4AA}"/>
          </ac:spMkLst>
        </pc:spChg>
        <pc:spChg chg="del">
          <ac:chgData name="Thomas Stensitzki" userId="75cafe6b-2f2a-469b-85c4-eec3b9c972ba" providerId="ADAL" clId="{EF5284BB-E924-47D6-B186-EC378FA380D2}" dt="2023-05-25T10:48:07.453" v="4155" actId="478"/>
          <ac:spMkLst>
            <pc:docMk/>
            <pc:sldMk cId="4097662530" sldId="740"/>
            <ac:spMk id="5" creationId="{ADCF37D5-4EA9-883F-517A-E718D8E63997}"/>
          </ac:spMkLst>
        </pc:spChg>
        <pc:spChg chg="add mod">
          <ac:chgData name="Thomas Stensitzki" userId="75cafe6b-2f2a-469b-85c4-eec3b9c972ba" providerId="ADAL" clId="{EF5284BB-E924-47D6-B186-EC378FA380D2}" dt="2023-05-25T10:48:23.986" v="4159" actId="1076"/>
          <ac:spMkLst>
            <pc:docMk/>
            <pc:sldMk cId="4097662530" sldId="740"/>
            <ac:spMk id="7" creationId="{E1F24479-4A07-2911-BD16-E427D8B2646B}"/>
          </ac:spMkLst>
        </pc:spChg>
        <pc:picChg chg="del">
          <ac:chgData name="Thomas Stensitzki" userId="75cafe6b-2f2a-469b-85c4-eec3b9c972ba" providerId="ADAL" clId="{EF5284BB-E924-47D6-B186-EC378FA380D2}" dt="2023-05-25T10:48:07.453" v="4155" actId="478"/>
          <ac:picMkLst>
            <pc:docMk/>
            <pc:sldMk cId="4097662530" sldId="740"/>
            <ac:picMk id="4" creationId="{C6607B7A-3798-4A71-F249-F7168E62DE91}"/>
          </ac:picMkLst>
        </pc:picChg>
        <pc:picChg chg="add mod">
          <ac:chgData name="Thomas Stensitzki" userId="75cafe6b-2f2a-469b-85c4-eec3b9c972ba" providerId="ADAL" clId="{EF5284BB-E924-47D6-B186-EC378FA380D2}" dt="2023-05-25T10:48:14.851" v="4157" actId="1076"/>
          <ac:picMkLst>
            <pc:docMk/>
            <pc:sldMk cId="4097662530" sldId="740"/>
            <ac:picMk id="6" creationId="{C5E948D6-77D4-3754-98BD-F2B971C44276}"/>
          </ac:picMkLst>
        </pc:picChg>
      </pc:sldChg>
      <pc:sldChg chg="addSp delSp modSp new mod">
        <pc:chgData name="Thomas Stensitzki" userId="75cafe6b-2f2a-469b-85c4-eec3b9c972ba" providerId="ADAL" clId="{EF5284BB-E924-47D6-B186-EC378FA380D2}" dt="2023-05-25T14:39:10.763" v="5049" actId="1076"/>
        <pc:sldMkLst>
          <pc:docMk/>
          <pc:sldMk cId="980172925" sldId="741"/>
        </pc:sldMkLst>
        <pc:spChg chg="del mod">
          <ac:chgData name="Thomas Stensitzki" userId="75cafe6b-2f2a-469b-85c4-eec3b9c972ba" providerId="ADAL" clId="{EF5284BB-E924-47D6-B186-EC378FA380D2}" dt="2023-05-25T14:36:57.955" v="5043" actId="478"/>
          <ac:spMkLst>
            <pc:docMk/>
            <pc:sldMk cId="980172925" sldId="741"/>
            <ac:spMk id="2" creationId="{8F74483C-9F99-2323-7049-0AB99DA8E759}"/>
          </ac:spMkLst>
        </pc:spChg>
        <pc:spChg chg="del">
          <ac:chgData name="Thomas Stensitzki" userId="75cafe6b-2f2a-469b-85c4-eec3b9c972ba" providerId="ADAL" clId="{EF5284BB-E924-47D6-B186-EC378FA380D2}" dt="2023-05-25T14:35:26.719" v="5032" actId="478"/>
          <ac:spMkLst>
            <pc:docMk/>
            <pc:sldMk cId="980172925" sldId="741"/>
            <ac:spMk id="3" creationId="{D88324ED-DC2D-2F19-979D-E5F7FA5B4B2E}"/>
          </ac:spMkLst>
        </pc:spChg>
        <pc:spChg chg="add del mod">
          <ac:chgData name="Thomas Stensitzki" userId="75cafe6b-2f2a-469b-85c4-eec3b9c972ba" providerId="ADAL" clId="{EF5284BB-E924-47D6-B186-EC378FA380D2}" dt="2023-05-25T14:37:01.888" v="5044" actId="478"/>
          <ac:spMkLst>
            <pc:docMk/>
            <pc:sldMk cId="980172925" sldId="741"/>
            <ac:spMk id="6" creationId="{16F38E56-9DF9-B55A-64B2-E85EB95BAC25}"/>
          </ac:spMkLst>
        </pc:spChg>
        <pc:picChg chg="add mod">
          <ac:chgData name="Thomas Stensitzki" userId="75cafe6b-2f2a-469b-85c4-eec3b9c972ba" providerId="ADAL" clId="{EF5284BB-E924-47D6-B186-EC378FA380D2}" dt="2023-05-25T14:36:46.040" v="5040" actId="1076"/>
          <ac:picMkLst>
            <pc:docMk/>
            <pc:sldMk cId="980172925" sldId="741"/>
            <ac:picMk id="4" creationId="{401BDEF3-90E0-DBBA-9FF5-31659B075E2A}"/>
          </ac:picMkLst>
        </pc:picChg>
        <pc:picChg chg="add mod">
          <ac:chgData name="Thomas Stensitzki" userId="75cafe6b-2f2a-469b-85c4-eec3b9c972ba" providerId="ADAL" clId="{EF5284BB-E924-47D6-B186-EC378FA380D2}" dt="2023-05-25T14:39:10.763" v="5049" actId="1076"/>
          <ac:picMkLst>
            <pc:docMk/>
            <pc:sldMk cId="980172925" sldId="741"/>
            <ac:picMk id="8" creationId="{2EB55981-0768-CE03-F2D9-17DC21F5CED5}"/>
          </ac:picMkLst>
        </pc:picChg>
        <pc:picChg chg="add mod">
          <ac:chgData name="Thomas Stensitzki" userId="75cafe6b-2f2a-469b-85c4-eec3b9c972ba" providerId="ADAL" clId="{EF5284BB-E924-47D6-B186-EC378FA380D2}" dt="2023-05-25T14:36:42.129" v="5039" actId="1440"/>
          <ac:picMkLst>
            <pc:docMk/>
            <pc:sldMk cId="980172925" sldId="741"/>
            <ac:picMk id="1026" creationId="{A56E732E-05A6-05FC-08CC-655BB585349B}"/>
          </ac:picMkLst>
        </pc:picChg>
      </pc:sldChg>
      <pc:sldChg chg="modSp new del mod">
        <pc:chgData name="Thomas Stensitzki" userId="75cafe6b-2f2a-469b-85c4-eec3b9c972ba" providerId="ADAL" clId="{EF5284BB-E924-47D6-B186-EC378FA380D2}" dt="2023-05-25T14:46:48.245" v="5062" actId="2696"/>
        <pc:sldMkLst>
          <pc:docMk/>
          <pc:sldMk cId="1717136232" sldId="742"/>
        </pc:sldMkLst>
        <pc:spChg chg="mod">
          <ac:chgData name="Thomas Stensitzki" userId="75cafe6b-2f2a-469b-85c4-eec3b9c972ba" providerId="ADAL" clId="{EF5284BB-E924-47D6-B186-EC378FA380D2}" dt="2023-05-25T14:46:43.591" v="5061" actId="20577"/>
          <ac:spMkLst>
            <pc:docMk/>
            <pc:sldMk cId="1717136232" sldId="742"/>
            <ac:spMk id="2" creationId="{D2086B68-4BD3-442E-1FBD-043F41B2AE4C}"/>
          </ac:spMkLst>
        </pc:spChg>
      </pc:sldChg>
      <pc:sldChg chg="addSp delSp modSp new mod modClrScheme chgLayout">
        <pc:chgData name="Thomas Stensitzki" userId="75cafe6b-2f2a-469b-85c4-eec3b9c972ba" providerId="ADAL" clId="{EF5284BB-E924-47D6-B186-EC378FA380D2}" dt="2023-05-25T15:41:45.436" v="5109" actId="1076"/>
        <pc:sldMkLst>
          <pc:docMk/>
          <pc:sldMk cId="2087758615" sldId="742"/>
        </pc:sldMkLst>
        <pc:spChg chg="del mod ord">
          <ac:chgData name="Thomas Stensitzki" userId="75cafe6b-2f2a-469b-85c4-eec3b9c972ba" providerId="ADAL" clId="{EF5284BB-E924-47D6-B186-EC378FA380D2}" dt="2023-05-25T15:39:27.546" v="5072" actId="700"/>
          <ac:spMkLst>
            <pc:docMk/>
            <pc:sldMk cId="2087758615" sldId="742"/>
            <ac:spMk id="2" creationId="{461EA2ED-4498-CB34-EEF5-CBBF37E8B185}"/>
          </ac:spMkLst>
        </pc:spChg>
        <pc:spChg chg="del">
          <ac:chgData name="Thomas Stensitzki" userId="75cafe6b-2f2a-469b-85c4-eec3b9c972ba" providerId="ADAL" clId="{EF5284BB-E924-47D6-B186-EC378FA380D2}" dt="2023-05-25T15:39:27.546" v="5072" actId="700"/>
          <ac:spMkLst>
            <pc:docMk/>
            <pc:sldMk cId="2087758615" sldId="742"/>
            <ac:spMk id="3" creationId="{37777BD8-C652-0141-435E-B4D3840E8341}"/>
          </ac:spMkLst>
        </pc:spChg>
        <pc:spChg chg="add mod ord">
          <ac:chgData name="Thomas Stensitzki" userId="75cafe6b-2f2a-469b-85c4-eec3b9c972ba" providerId="ADAL" clId="{EF5284BB-E924-47D6-B186-EC378FA380D2}" dt="2023-05-25T15:39:34.457" v="5101" actId="20577"/>
          <ac:spMkLst>
            <pc:docMk/>
            <pc:sldMk cId="2087758615" sldId="742"/>
            <ac:spMk id="6" creationId="{352435B0-CDA2-673A-6C8D-5D4889CF8713}"/>
          </ac:spMkLst>
        </pc:spChg>
        <pc:spChg chg="add mod">
          <ac:chgData name="Thomas Stensitzki" userId="75cafe6b-2f2a-469b-85c4-eec3b9c972ba" providerId="ADAL" clId="{EF5284BB-E924-47D6-B186-EC378FA380D2}" dt="2023-05-25T15:41:45.436" v="5109" actId="1076"/>
          <ac:spMkLst>
            <pc:docMk/>
            <pc:sldMk cId="2087758615" sldId="742"/>
            <ac:spMk id="7" creationId="{46285721-03E8-4963-D456-1E603B70E3DE}"/>
          </ac:spMkLst>
        </pc:spChg>
        <pc:picChg chg="add mod">
          <ac:chgData name="Thomas Stensitzki" userId="75cafe6b-2f2a-469b-85c4-eec3b9c972ba" providerId="ADAL" clId="{EF5284BB-E924-47D6-B186-EC378FA380D2}" dt="2023-05-25T15:41:42.369" v="5108" actId="1076"/>
          <ac:picMkLst>
            <pc:docMk/>
            <pc:sldMk cId="2087758615" sldId="742"/>
            <ac:picMk id="5" creationId="{71EF0DB3-CBB7-CF10-38F1-D56A5BA7F42D}"/>
          </ac:picMkLst>
        </pc:picChg>
      </pc:sldChg>
    </pc:docChg>
  </pc:docChgLst>
  <pc:docChgLst>
    <pc:chgData name="Thomas Stensitzki" userId="75cafe6b-2f2a-469b-85c4-eec3b9c972ba" providerId="ADAL" clId="{13A7DD84-EBC7-44DF-A4B8-478E332BAF16}"/>
    <pc:docChg chg="undo custSel addSld delSld modSld sldOrd modSection">
      <pc:chgData name="Thomas Stensitzki" userId="75cafe6b-2f2a-469b-85c4-eec3b9c972ba" providerId="ADAL" clId="{13A7DD84-EBC7-44DF-A4B8-478E332BAF16}" dt="2021-08-12T18:30:02.192" v="1854" actId="1076"/>
      <pc:docMkLst>
        <pc:docMk/>
      </pc:docMkLst>
      <pc:sldChg chg="modSp mod">
        <pc:chgData name="Thomas Stensitzki" userId="75cafe6b-2f2a-469b-85c4-eec3b9c972ba" providerId="ADAL" clId="{13A7DD84-EBC7-44DF-A4B8-478E332BAF16}" dt="2021-08-05T16:07:11.930" v="18" actId="20577"/>
        <pc:sldMkLst>
          <pc:docMk/>
          <pc:sldMk cId="671489701" sldId="256"/>
        </pc:sldMkLst>
        <pc:spChg chg="mod">
          <ac:chgData name="Thomas Stensitzki" userId="75cafe6b-2f2a-469b-85c4-eec3b9c972ba" providerId="ADAL" clId="{13A7DD84-EBC7-44DF-A4B8-478E332BAF16}" dt="2021-08-05T16:07:11.930" v="18" actId="20577"/>
          <ac:spMkLst>
            <pc:docMk/>
            <pc:sldMk cId="671489701" sldId="256"/>
            <ac:spMk id="3" creationId="{CBA95633-B02D-4A15-A8B1-A38E0A70FD27}"/>
          </ac:spMkLst>
        </pc:spChg>
      </pc:sldChg>
      <pc:sldChg chg="modSp mod">
        <pc:chgData name="Thomas Stensitzki" userId="75cafe6b-2f2a-469b-85c4-eec3b9c972ba" providerId="ADAL" clId="{13A7DD84-EBC7-44DF-A4B8-478E332BAF16}" dt="2021-08-12T15:32:07.902" v="1639" actId="20577"/>
        <pc:sldMkLst>
          <pc:docMk/>
          <pc:sldMk cId="2855324227" sldId="257"/>
        </pc:sldMkLst>
        <pc:spChg chg="mod">
          <ac:chgData name="Thomas Stensitzki" userId="75cafe6b-2f2a-469b-85c4-eec3b9c972ba" providerId="ADAL" clId="{13A7DD84-EBC7-44DF-A4B8-478E332BAF16}" dt="2021-08-12T15:32:07.902" v="1639" actId="20577"/>
          <ac:spMkLst>
            <pc:docMk/>
            <pc:sldMk cId="2855324227" sldId="257"/>
            <ac:spMk id="5" creationId="{EE6719E1-4DB6-4D58-BA77-937CF975247C}"/>
          </ac:spMkLst>
        </pc:spChg>
        <pc:graphicFrameChg chg="mod modGraphic">
          <ac:chgData name="Thomas Stensitzki" userId="75cafe6b-2f2a-469b-85c4-eec3b9c972ba" providerId="ADAL" clId="{13A7DD84-EBC7-44DF-A4B8-478E332BAF16}" dt="2021-08-05T16:10:21.858" v="53" actId="15"/>
          <ac:graphicFrameMkLst>
            <pc:docMk/>
            <pc:sldMk cId="2855324227" sldId="257"/>
            <ac:graphicFrameMk id="6" creationId="{0F955DCC-462D-431D-BBDE-26F10687D590}"/>
          </ac:graphicFrameMkLst>
        </pc:graphicFrameChg>
      </pc:sldChg>
      <pc:sldChg chg="delSp modSp mod">
        <pc:chgData name="Thomas Stensitzki" userId="75cafe6b-2f2a-469b-85c4-eec3b9c972ba" providerId="ADAL" clId="{13A7DD84-EBC7-44DF-A4B8-478E332BAF16}" dt="2021-08-10T17:34:58.104" v="1556" actId="6549"/>
        <pc:sldMkLst>
          <pc:docMk/>
          <pc:sldMk cId="3332792154" sldId="258"/>
        </pc:sldMkLst>
        <pc:spChg chg="mod">
          <ac:chgData name="Thomas Stensitzki" userId="75cafe6b-2f2a-469b-85c4-eec3b9c972ba" providerId="ADAL" clId="{13A7DD84-EBC7-44DF-A4B8-478E332BAF16}" dt="2021-08-10T17:34:58.104" v="1556" actId="6549"/>
          <ac:spMkLst>
            <pc:docMk/>
            <pc:sldMk cId="3332792154" sldId="258"/>
            <ac:spMk id="3" creationId="{3A5A44EB-7FB9-473A-8ED3-C49DDD2E65AB}"/>
          </ac:spMkLst>
        </pc:spChg>
        <pc:picChg chg="del">
          <ac:chgData name="Thomas Stensitzki" userId="75cafe6b-2f2a-469b-85c4-eec3b9c972ba" providerId="ADAL" clId="{13A7DD84-EBC7-44DF-A4B8-478E332BAF16}" dt="2021-08-10T17:33:39.840" v="1539" actId="478"/>
          <ac:picMkLst>
            <pc:docMk/>
            <pc:sldMk cId="3332792154" sldId="258"/>
            <ac:picMk id="5" creationId="{EEE89219-4CF0-44A2-811B-A2CBC860BCCC}"/>
          </ac:picMkLst>
        </pc:picChg>
      </pc:sldChg>
      <pc:sldChg chg="addSp modSp mod">
        <pc:chgData name="Thomas Stensitzki" userId="75cafe6b-2f2a-469b-85c4-eec3b9c972ba" providerId="ADAL" clId="{13A7DD84-EBC7-44DF-A4B8-478E332BAF16}" dt="2021-08-12T18:30:02.192" v="1854" actId="1076"/>
        <pc:sldMkLst>
          <pc:docMk/>
          <pc:sldMk cId="2698998357" sldId="260"/>
        </pc:sldMkLst>
        <pc:spChg chg="mod">
          <ac:chgData name="Thomas Stensitzki" userId="75cafe6b-2f2a-469b-85c4-eec3b9c972ba" providerId="ADAL" clId="{13A7DD84-EBC7-44DF-A4B8-478E332BAF16}" dt="2021-08-05T16:10:43.636" v="54"/>
          <ac:spMkLst>
            <pc:docMk/>
            <pc:sldMk cId="2698998357" sldId="260"/>
            <ac:spMk id="4" creationId="{F3A15CBD-C746-44A3-A4F0-4898CE2F02E6}"/>
          </ac:spMkLst>
        </pc:spChg>
        <pc:spChg chg="mod">
          <ac:chgData name="Thomas Stensitzki" userId="75cafe6b-2f2a-469b-85c4-eec3b9c972ba" providerId="ADAL" clId="{13A7DD84-EBC7-44DF-A4B8-478E332BAF16}" dt="2021-08-05T16:11:10.016" v="62" actId="6549"/>
          <ac:spMkLst>
            <pc:docMk/>
            <pc:sldMk cId="2698998357" sldId="260"/>
            <ac:spMk id="5" creationId="{F3459BE7-1731-4733-A912-12977C68CFD6}"/>
          </ac:spMkLst>
        </pc:spChg>
        <pc:spChg chg="add mod">
          <ac:chgData name="Thomas Stensitzki" userId="75cafe6b-2f2a-469b-85c4-eec3b9c972ba" providerId="ADAL" clId="{13A7DD84-EBC7-44DF-A4B8-478E332BAF16}" dt="2021-08-12T18:30:02.192" v="1854" actId="1076"/>
          <ac:spMkLst>
            <pc:docMk/>
            <pc:sldMk cId="2698998357" sldId="260"/>
            <ac:spMk id="6" creationId="{AC7B595A-A4C5-4A86-B8F3-29469F0A7A0E}"/>
          </ac:spMkLst>
        </pc:spChg>
      </pc:sldChg>
      <pc:sldChg chg="addSp modSp mod">
        <pc:chgData name="Thomas Stensitzki" userId="75cafe6b-2f2a-469b-85c4-eec3b9c972ba" providerId="ADAL" clId="{13A7DD84-EBC7-44DF-A4B8-478E332BAF16}" dt="2021-08-05T16:55:34.656" v="859" actId="1076"/>
        <pc:sldMkLst>
          <pc:docMk/>
          <pc:sldMk cId="4007670073" sldId="268"/>
        </pc:sldMkLst>
        <pc:spChg chg="add mod">
          <ac:chgData name="Thomas Stensitzki" userId="75cafe6b-2f2a-469b-85c4-eec3b9c972ba" providerId="ADAL" clId="{13A7DD84-EBC7-44DF-A4B8-478E332BAF16}" dt="2021-08-05T16:55:34.656" v="859" actId="1076"/>
          <ac:spMkLst>
            <pc:docMk/>
            <pc:sldMk cId="4007670073" sldId="268"/>
            <ac:spMk id="2" creationId="{A0204B4B-AC00-4A91-B83C-FDA5915CC9E5}"/>
          </ac:spMkLst>
        </pc:spChg>
        <pc:spChg chg="mod">
          <ac:chgData name="Thomas Stensitzki" userId="75cafe6b-2f2a-469b-85c4-eec3b9c972ba" providerId="ADAL" clId="{13A7DD84-EBC7-44DF-A4B8-478E332BAF16}" dt="2021-08-05T16:52:56.837" v="832" actId="20577"/>
          <ac:spMkLst>
            <pc:docMk/>
            <pc:sldMk cId="4007670073" sldId="268"/>
            <ac:spMk id="4" creationId="{F3A15CBD-C746-44A3-A4F0-4898CE2F02E6}"/>
          </ac:spMkLst>
        </pc:spChg>
      </pc:sldChg>
      <pc:sldChg chg="modSp mod">
        <pc:chgData name="Thomas Stensitzki" userId="75cafe6b-2f2a-469b-85c4-eec3b9c972ba" providerId="ADAL" clId="{13A7DD84-EBC7-44DF-A4B8-478E332BAF16}" dt="2021-08-12T18:29:18.029" v="1853" actId="3626"/>
        <pc:sldMkLst>
          <pc:docMk/>
          <pc:sldMk cId="2721051844" sldId="269"/>
        </pc:sldMkLst>
        <pc:spChg chg="mod">
          <ac:chgData name="Thomas Stensitzki" userId="75cafe6b-2f2a-469b-85c4-eec3b9c972ba" providerId="ADAL" clId="{13A7DD84-EBC7-44DF-A4B8-478E332BAF16}" dt="2021-08-12T18:29:18.029" v="1853" actId="3626"/>
          <ac:spMkLst>
            <pc:docMk/>
            <pc:sldMk cId="2721051844" sldId="269"/>
            <ac:spMk id="5" creationId="{C24DACB5-1BEC-4C86-9652-BAFD8DE56FEF}"/>
          </ac:spMkLst>
        </pc:spChg>
      </pc:sldChg>
      <pc:sldChg chg="mod modShow">
        <pc:chgData name="Thomas Stensitzki" userId="75cafe6b-2f2a-469b-85c4-eec3b9c972ba" providerId="ADAL" clId="{13A7DD84-EBC7-44DF-A4B8-478E332BAF16}" dt="2021-08-12T16:19:08.578" v="1666" actId="729"/>
        <pc:sldMkLst>
          <pc:docMk/>
          <pc:sldMk cId="466045460" sldId="296"/>
        </pc:sldMkLst>
      </pc:sldChg>
      <pc:sldChg chg="modSp mod modShow">
        <pc:chgData name="Thomas Stensitzki" userId="75cafe6b-2f2a-469b-85c4-eec3b9c972ba" providerId="ADAL" clId="{13A7DD84-EBC7-44DF-A4B8-478E332BAF16}" dt="2021-08-10T17:00:17.967" v="1538" actId="20577"/>
        <pc:sldMkLst>
          <pc:docMk/>
          <pc:sldMk cId="53967156" sldId="297"/>
        </pc:sldMkLst>
        <pc:spChg chg="mod">
          <ac:chgData name="Thomas Stensitzki" userId="75cafe6b-2f2a-469b-85c4-eec3b9c972ba" providerId="ADAL" clId="{13A7DD84-EBC7-44DF-A4B8-478E332BAF16}" dt="2021-08-10T17:00:08.381" v="1518" actId="20577"/>
          <ac:spMkLst>
            <pc:docMk/>
            <pc:sldMk cId="53967156" sldId="297"/>
            <ac:spMk id="4" creationId="{F3A15CBD-C746-44A3-A4F0-4898CE2F02E6}"/>
          </ac:spMkLst>
        </pc:spChg>
        <pc:spChg chg="mod">
          <ac:chgData name="Thomas Stensitzki" userId="75cafe6b-2f2a-469b-85c4-eec3b9c972ba" providerId="ADAL" clId="{13A7DD84-EBC7-44DF-A4B8-478E332BAF16}" dt="2021-08-10T17:00:17.967" v="1538" actId="20577"/>
          <ac:spMkLst>
            <pc:docMk/>
            <pc:sldMk cId="53967156" sldId="297"/>
            <ac:spMk id="5" creationId="{F3459BE7-1731-4733-A912-12977C68CFD6}"/>
          </ac:spMkLst>
        </pc:spChg>
      </pc:sldChg>
      <pc:sldChg chg="modSp mod">
        <pc:chgData name="Thomas Stensitzki" userId="75cafe6b-2f2a-469b-85c4-eec3b9c972ba" providerId="ADAL" clId="{13A7DD84-EBC7-44DF-A4B8-478E332BAF16}" dt="2021-08-10T16:56:32.392" v="1474" actId="20577"/>
        <pc:sldMkLst>
          <pc:docMk/>
          <pc:sldMk cId="3298503951" sldId="372"/>
        </pc:sldMkLst>
        <pc:spChg chg="mod">
          <ac:chgData name="Thomas Stensitzki" userId="75cafe6b-2f2a-469b-85c4-eec3b9c972ba" providerId="ADAL" clId="{13A7DD84-EBC7-44DF-A4B8-478E332BAF16}" dt="2021-08-10T16:54:47.203" v="1341" actId="1036"/>
          <ac:spMkLst>
            <pc:docMk/>
            <pc:sldMk cId="3298503951" sldId="372"/>
            <ac:spMk id="2" creationId="{909DC09D-B9A6-4493-9A72-1CA7ECB1F5CA}"/>
          </ac:spMkLst>
        </pc:spChg>
        <pc:spChg chg="mod">
          <ac:chgData name="Thomas Stensitzki" userId="75cafe6b-2f2a-469b-85c4-eec3b9c972ba" providerId="ADAL" clId="{13A7DD84-EBC7-44DF-A4B8-478E332BAF16}" dt="2021-08-10T16:56:32.392" v="1474" actId="20577"/>
          <ac:spMkLst>
            <pc:docMk/>
            <pc:sldMk cId="3298503951" sldId="372"/>
            <ac:spMk id="5" creationId="{C24DACB5-1BEC-4C86-9652-BAFD8DE56FEF}"/>
          </ac:spMkLst>
        </pc:spChg>
      </pc:sldChg>
      <pc:sldChg chg="modSp mod modNotesTx">
        <pc:chgData name="Thomas Stensitzki" userId="75cafe6b-2f2a-469b-85c4-eec3b9c972ba" providerId="ADAL" clId="{13A7DD84-EBC7-44DF-A4B8-478E332BAF16}" dt="2021-08-10T16:52:12.647" v="1184" actId="20577"/>
        <pc:sldMkLst>
          <pc:docMk/>
          <pc:sldMk cId="2227487991" sldId="378"/>
        </pc:sldMkLst>
        <pc:spChg chg="mod">
          <ac:chgData name="Thomas Stensitzki" userId="75cafe6b-2f2a-469b-85c4-eec3b9c972ba" providerId="ADAL" clId="{13A7DD84-EBC7-44DF-A4B8-478E332BAF16}" dt="2021-08-10T16:52:05.644" v="1181" actId="14100"/>
          <ac:spMkLst>
            <pc:docMk/>
            <pc:sldMk cId="2227487991" sldId="378"/>
            <ac:spMk id="2" creationId="{909DC09D-B9A6-4493-9A72-1CA7ECB1F5CA}"/>
          </ac:spMkLst>
        </pc:spChg>
        <pc:spChg chg="mod">
          <ac:chgData name="Thomas Stensitzki" userId="75cafe6b-2f2a-469b-85c4-eec3b9c972ba" providerId="ADAL" clId="{13A7DD84-EBC7-44DF-A4B8-478E332BAF16}" dt="2021-08-10T16:52:12.647" v="1184" actId="20577"/>
          <ac:spMkLst>
            <pc:docMk/>
            <pc:sldMk cId="2227487991" sldId="378"/>
            <ac:spMk id="5" creationId="{C24DACB5-1BEC-4C86-9652-BAFD8DE56FEF}"/>
          </ac:spMkLst>
        </pc:spChg>
      </pc:sldChg>
      <pc:sldChg chg="del">
        <pc:chgData name="Thomas Stensitzki" userId="75cafe6b-2f2a-469b-85c4-eec3b9c972ba" providerId="ADAL" clId="{13A7DD84-EBC7-44DF-A4B8-478E332BAF16}" dt="2021-08-05T16:11:45.220" v="63" actId="47"/>
        <pc:sldMkLst>
          <pc:docMk/>
          <pc:sldMk cId="4126930427" sldId="379"/>
        </pc:sldMkLst>
      </pc:sldChg>
      <pc:sldChg chg="addSp delSp modSp mod modAnim modNotesTx">
        <pc:chgData name="Thomas Stensitzki" userId="75cafe6b-2f2a-469b-85c4-eec3b9c972ba" providerId="ADAL" clId="{13A7DD84-EBC7-44DF-A4B8-478E332BAF16}" dt="2021-08-12T16:42:00.689" v="1670" actId="6549"/>
        <pc:sldMkLst>
          <pc:docMk/>
          <pc:sldMk cId="2708846828" sldId="392"/>
        </pc:sldMkLst>
        <pc:spChg chg="mod">
          <ac:chgData name="Thomas Stensitzki" userId="75cafe6b-2f2a-469b-85c4-eec3b9c972ba" providerId="ADAL" clId="{13A7DD84-EBC7-44DF-A4B8-478E332BAF16}" dt="2021-08-05T16:19:05.858" v="191"/>
          <ac:spMkLst>
            <pc:docMk/>
            <pc:sldMk cId="2708846828" sldId="392"/>
            <ac:spMk id="2" creationId="{11E5EEC8-6493-4BA0-8811-4A3F48FE62AF}"/>
          </ac:spMkLst>
        </pc:spChg>
        <pc:spChg chg="add mod">
          <ac:chgData name="Thomas Stensitzki" userId="75cafe6b-2f2a-469b-85c4-eec3b9c972ba" providerId="ADAL" clId="{13A7DD84-EBC7-44DF-A4B8-478E332BAF16}" dt="2021-08-05T16:20:15.988" v="198" actId="13822"/>
          <ac:spMkLst>
            <pc:docMk/>
            <pc:sldMk cId="2708846828" sldId="392"/>
            <ac:spMk id="4" creationId="{4B460319-C2AC-46BD-BB41-CCCE83446E62}"/>
          </ac:spMkLst>
        </pc:spChg>
        <pc:spChg chg="add del mod">
          <ac:chgData name="Thomas Stensitzki" userId="75cafe6b-2f2a-469b-85c4-eec3b9c972ba" providerId="ADAL" clId="{13A7DD84-EBC7-44DF-A4B8-478E332BAF16}" dt="2021-08-05T16:49:54.839" v="751" actId="22"/>
          <ac:spMkLst>
            <pc:docMk/>
            <pc:sldMk cId="2708846828" sldId="392"/>
            <ac:spMk id="9" creationId="{E9288DC5-AFC0-4DB6-B4A4-627BBBCF00EE}"/>
          </ac:spMkLst>
        </pc:spChg>
        <pc:spChg chg="add mod">
          <ac:chgData name="Thomas Stensitzki" userId="75cafe6b-2f2a-469b-85c4-eec3b9c972ba" providerId="ADAL" clId="{13A7DD84-EBC7-44DF-A4B8-478E332BAF16}" dt="2021-08-12T16:42:00.689" v="1670" actId="6549"/>
          <ac:spMkLst>
            <pc:docMk/>
            <pc:sldMk cId="2708846828" sldId="392"/>
            <ac:spMk id="10" creationId="{465D1869-94E2-48F5-88B2-613F26C28571}"/>
          </ac:spMkLst>
        </pc:spChg>
        <pc:picChg chg="add mod">
          <ac:chgData name="Thomas Stensitzki" userId="75cafe6b-2f2a-469b-85c4-eec3b9c972ba" providerId="ADAL" clId="{13A7DD84-EBC7-44DF-A4B8-478E332BAF16}" dt="2021-08-05T16:21:39.153" v="210" actId="1582"/>
          <ac:picMkLst>
            <pc:docMk/>
            <pc:sldMk cId="2708846828" sldId="392"/>
            <ac:picMk id="3" creationId="{EF48EADF-098B-48A7-81B5-5F2B9EF826B8}"/>
          </ac:picMkLst>
        </pc:picChg>
        <pc:picChg chg="add mod">
          <ac:chgData name="Thomas Stensitzki" userId="75cafe6b-2f2a-469b-85c4-eec3b9c972ba" providerId="ADAL" clId="{13A7DD84-EBC7-44DF-A4B8-478E332BAF16}" dt="2021-08-05T16:22:41.990" v="218" actId="1037"/>
          <ac:picMkLst>
            <pc:docMk/>
            <pc:sldMk cId="2708846828" sldId="392"/>
            <ac:picMk id="5" creationId="{7634E70F-E0ED-4ADB-A719-FDA7F58424B4}"/>
          </ac:picMkLst>
        </pc:picChg>
        <pc:picChg chg="del">
          <ac:chgData name="Thomas Stensitzki" userId="75cafe6b-2f2a-469b-85c4-eec3b9c972ba" providerId="ADAL" clId="{13A7DD84-EBC7-44DF-A4B8-478E332BAF16}" dt="2021-08-05T16:19:07.822" v="192" actId="478"/>
          <ac:picMkLst>
            <pc:docMk/>
            <pc:sldMk cId="2708846828" sldId="392"/>
            <ac:picMk id="1026" creationId="{043285E5-2210-4AFC-A5D8-BFCD39482712}"/>
          </ac:picMkLst>
        </pc:picChg>
        <pc:picChg chg="add mod">
          <ac:chgData name="Thomas Stensitzki" userId="75cafe6b-2f2a-469b-85c4-eec3b9c972ba" providerId="ADAL" clId="{13A7DD84-EBC7-44DF-A4B8-478E332BAF16}" dt="2021-08-05T16:23:23.392" v="223" actId="1582"/>
          <ac:picMkLst>
            <pc:docMk/>
            <pc:sldMk cId="2708846828" sldId="392"/>
            <ac:picMk id="1028" creationId="{A0C7C483-8988-43C4-9B17-B143FA5E03E0}"/>
          </ac:picMkLst>
        </pc:picChg>
      </pc:sldChg>
      <pc:sldChg chg="del">
        <pc:chgData name="Thomas Stensitzki" userId="75cafe6b-2f2a-469b-85c4-eec3b9c972ba" providerId="ADAL" clId="{13A7DD84-EBC7-44DF-A4B8-478E332BAF16}" dt="2021-08-12T15:31:27.389" v="1637" actId="2696"/>
        <pc:sldMkLst>
          <pc:docMk/>
          <pc:sldMk cId="3890497020" sldId="426"/>
        </pc:sldMkLst>
      </pc:sldChg>
      <pc:sldChg chg="del">
        <pc:chgData name="Thomas Stensitzki" userId="75cafe6b-2f2a-469b-85c4-eec3b9c972ba" providerId="ADAL" clId="{13A7DD84-EBC7-44DF-A4B8-478E332BAF16}" dt="2021-08-05T16:11:45.220" v="63" actId="47"/>
        <pc:sldMkLst>
          <pc:docMk/>
          <pc:sldMk cId="1307627255" sldId="427"/>
        </pc:sldMkLst>
      </pc:sldChg>
      <pc:sldChg chg="del">
        <pc:chgData name="Thomas Stensitzki" userId="75cafe6b-2f2a-469b-85c4-eec3b9c972ba" providerId="ADAL" clId="{13A7DD84-EBC7-44DF-A4B8-478E332BAF16}" dt="2021-08-05T16:18:05.112" v="182" actId="47"/>
        <pc:sldMkLst>
          <pc:docMk/>
          <pc:sldMk cId="2443006273" sldId="428"/>
        </pc:sldMkLst>
      </pc:sldChg>
      <pc:sldChg chg="del">
        <pc:chgData name="Thomas Stensitzki" userId="75cafe6b-2f2a-469b-85c4-eec3b9c972ba" providerId="ADAL" clId="{13A7DD84-EBC7-44DF-A4B8-478E332BAF16}" dt="2021-08-05T16:18:05.112" v="182" actId="47"/>
        <pc:sldMkLst>
          <pc:docMk/>
          <pc:sldMk cId="3040654567" sldId="429"/>
        </pc:sldMkLst>
      </pc:sldChg>
      <pc:sldChg chg="del">
        <pc:chgData name="Thomas Stensitzki" userId="75cafe6b-2f2a-469b-85c4-eec3b9c972ba" providerId="ADAL" clId="{13A7DD84-EBC7-44DF-A4B8-478E332BAF16}" dt="2021-08-05T16:18:05.112" v="182" actId="47"/>
        <pc:sldMkLst>
          <pc:docMk/>
          <pc:sldMk cId="4042123349" sldId="430"/>
        </pc:sldMkLst>
      </pc:sldChg>
      <pc:sldChg chg="del">
        <pc:chgData name="Thomas Stensitzki" userId="75cafe6b-2f2a-469b-85c4-eec3b9c972ba" providerId="ADAL" clId="{13A7DD84-EBC7-44DF-A4B8-478E332BAF16}" dt="2021-08-05T16:11:45.220" v="63" actId="47"/>
        <pc:sldMkLst>
          <pc:docMk/>
          <pc:sldMk cId="1699899763" sldId="431"/>
        </pc:sldMkLst>
      </pc:sldChg>
      <pc:sldChg chg="del">
        <pc:chgData name="Thomas Stensitzki" userId="75cafe6b-2f2a-469b-85c4-eec3b9c972ba" providerId="ADAL" clId="{13A7DD84-EBC7-44DF-A4B8-478E332BAF16}" dt="2021-08-05T16:18:05.112" v="182" actId="47"/>
        <pc:sldMkLst>
          <pc:docMk/>
          <pc:sldMk cId="3748413395" sldId="432"/>
        </pc:sldMkLst>
      </pc:sldChg>
      <pc:sldChg chg="del">
        <pc:chgData name="Thomas Stensitzki" userId="75cafe6b-2f2a-469b-85c4-eec3b9c972ba" providerId="ADAL" clId="{13A7DD84-EBC7-44DF-A4B8-478E332BAF16}" dt="2021-08-05T16:11:45.220" v="63" actId="47"/>
        <pc:sldMkLst>
          <pc:docMk/>
          <pc:sldMk cId="2909965873" sldId="433"/>
        </pc:sldMkLst>
      </pc:sldChg>
      <pc:sldChg chg="del">
        <pc:chgData name="Thomas Stensitzki" userId="75cafe6b-2f2a-469b-85c4-eec3b9c972ba" providerId="ADAL" clId="{13A7DD84-EBC7-44DF-A4B8-478E332BAF16}" dt="2021-08-05T16:11:45.220" v="63" actId="47"/>
        <pc:sldMkLst>
          <pc:docMk/>
          <pc:sldMk cId="2687296234" sldId="434"/>
        </pc:sldMkLst>
      </pc:sldChg>
      <pc:sldChg chg="del">
        <pc:chgData name="Thomas Stensitzki" userId="75cafe6b-2f2a-469b-85c4-eec3b9c972ba" providerId="ADAL" clId="{13A7DD84-EBC7-44DF-A4B8-478E332BAF16}" dt="2021-08-05T16:11:45.220" v="63" actId="47"/>
        <pc:sldMkLst>
          <pc:docMk/>
          <pc:sldMk cId="3916441034" sldId="435"/>
        </pc:sldMkLst>
      </pc:sldChg>
      <pc:sldChg chg="del">
        <pc:chgData name="Thomas Stensitzki" userId="75cafe6b-2f2a-469b-85c4-eec3b9c972ba" providerId="ADAL" clId="{13A7DD84-EBC7-44DF-A4B8-478E332BAF16}" dt="2021-08-05T16:18:05.112" v="182" actId="47"/>
        <pc:sldMkLst>
          <pc:docMk/>
          <pc:sldMk cId="2665106704" sldId="437"/>
        </pc:sldMkLst>
      </pc:sldChg>
      <pc:sldChg chg="del">
        <pc:chgData name="Thomas Stensitzki" userId="75cafe6b-2f2a-469b-85c4-eec3b9c972ba" providerId="ADAL" clId="{13A7DD84-EBC7-44DF-A4B8-478E332BAF16}" dt="2021-08-05T16:11:45.220" v="63" actId="47"/>
        <pc:sldMkLst>
          <pc:docMk/>
          <pc:sldMk cId="1968010775" sldId="438"/>
        </pc:sldMkLst>
      </pc:sldChg>
      <pc:sldChg chg="del">
        <pc:chgData name="Thomas Stensitzki" userId="75cafe6b-2f2a-469b-85c4-eec3b9c972ba" providerId="ADAL" clId="{13A7DD84-EBC7-44DF-A4B8-478E332BAF16}" dt="2021-08-05T16:18:05.112" v="182" actId="47"/>
        <pc:sldMkLst>
          <pc:docMk/>
          <pc:sldMk cId="2987264023" sldId="439"/>
        </pc:sldMkLst>
      </pc:sldChg>
      <pc:sldChg chg="del">
        <pc:chgData name="Thomas Stensitzki" userId="75cafe6b-2f2a-469b-85c4-eec3b9c972ba" providerId="ADAL" clId="{13A7DD84-EBC7-44DF-A4B8-478E332BAF16}" dt="2021-08-05T16:11:45.220" v="63" actId="47"/>
        <pc:sldMkLst>
          <pc:docMk/>
          <pc:sldMk cId="1174508103" sldId="440"/>
        </pc:sldMkLst>
      </pc:sldChg>
      <pc:sldChg chg="del">
        <pc:chgData name="Thomas Stensitzki" userId="75cafe6b-2f2a-469b-85c4-eec3b9c972ba" providerId="ADAL" clId="{13A7DD84-EBC7-44DF-A4B8-478E332BAF16}" dt="2021-08-05T16:11:45.220" v="63" actId="47"/>
        <pc:sldMkLst>
          <pc:docMk/>
          <pc:sldMk cId="1134792597" sldId="441"/>
        </pc:sldMkLst>
      </pc:sldChg>
      <pc:sldChg chg="del">
        <pc:chgData name="Thomas Stensitzki" userId="75cafe6b-2f2a-469b-85c4-eec3b9c972ba" providerId="ADAL" clId="{13A7DD84-EBC7-44DF-A4B8-478E332BAF16}" dt="2021-08-05T16:11:45.220" v="63" actId="47"/>
        <pc:sldMkLst>
          <pc:docMk/>
          <pc:sldMk cId="3082151148" sldId="442"/>
        </pc:sldMkLst>
      </pc:sldChg>
      <pc:sldChg chg="del">
        <pc:chgData name="Thomas Stensitzki" userId="75cafe6b-2f2a-469b-85c4-eec3b9c972ba" providerId="ADAL" clId="{13A7DD84-EBC7-44DF-A4B8-478E332BAF16}" dt="2021-08-05T16:11:45.220" v="63" actId="47"/>
        <pc:sldMkLst>
          <pc:docMk/>
          <pc:sldMk cId="2894310663" sldId="443"/>
        </pc:sldMkLst>
      </pc:sldChg>
      <pc:sldChg chg="del">
        <pc:chgData name="Thomas Stensitzki" userId="75cafe6b-2f2a-469b-85c4-eec3b9c972ba" providerId="ADAL" clId="{13A7DD84-EBC7-44DF-A4B8-478E332BAF16}" dt="2021-08-05T16:11:45.220" v="63" actId="47"/>
        <pc:sldMkLst>
          <pc:docMk/>
          <pc:sldMk cId="625199879" sldId="444"/>
        </pc:sldMkLst>
      </pc:sldChg>
      <pc:sldChg chg="del">
        <pc:chgData name="Thomas Stensitzki" userId="75cafe6b-2f2a-469b-85c4-eec3b9c972ba" providerId="ADAL" clId="{13A7DD84-EBC7-44DF-A4B8-478E332BAF16}" dt="2021-08-05T16:11:45.220" v="63" actId="47"/>
        <pc:sldMkLst>
          <pc:docMk/>
          <pc:sldMk cId="1296016441" sldId="445"/>
        </pc:sldMkLst>
      </pc:sldChg>
      <pc:sldChg chg="del">
        <pc:chgData name="Thomas Stensitzki" userId="75cafe6b-2f2a-469b-85c4-eec3b9c972ba" providerId="ADAL" clId="{13A7DD84-EBC7-44DF-A4B8-478E332BAF16}" dt="2021-08-05T16:11:45.220" v="63" actId="47"/>
        <pc:sldMkLst>
          <pc:docMk/>
          <pc:sldMk cId="2712150207" sldId="446"/>
        </pc:sldMkLst>
      </pc:sldChg>
      <pc:sldChg chg="del">
        <pc:chgData name="Thomas Stensitzki" userId="75cafe6b-2f2a-469b-85c4-eec3b9c972ba" providerId="ADAL" clId="{13A7DD84-EBC7-44DF-A4B8-478E332BAF16}" dt="2021-08-05T16:11:45.220" v="63" actId="47"/>
        <pc:sldMkLst>
          <pc:docMk/>
          <pc:sldMk cId="3622258366" sldId="447"/>
        </pc:sldMkLst>
      </pc:sldChg>
      <pc:sldChg chg="del">
        <pc:chgData name="Thomas Stensitzki" userId="75cafe6b-2f2a-469b-85c4-eec3b9c972ba" providerId="ADAL" clId="{13A7DD84-EBC7-44DF-A4B8-478E332BAF16}" dt="2021-08-05T16:11:45.220" v="63" actId="47"/>
        <pc:sldMkLst>
          <pc:docMk/>
          <pc:sldMk cId="1736350639" sldId="448"/>
        </pc:sldMkLst>
      </pc:sldChg>
      <pc:sldChg chg="del">
        <pc:chgData name="Thomas Stensitzki" userId="75cafe6b-2f2a-469b-85c4-eec3b9c972ba" providerId="ADAL" clId="{13A7DD84-EBC7-44DF-A4B8-478E332BAF16}" dt="2021-08-05T16:11:45.220" v="63" actId="47"/>
        <pc:sldMkLst>
          <pc:docMk/>
          <pc:sldMk cId="2730803217" sldId="449"/>
        </pc:sldMkLst>
      </pc:sldChg>
      <pc:sldChg chg="del">
        <pc:chgData name="Thomas Stensitzki" userId="75cafe6b-2f2a-469b-85c4-eec3b9c972ba" providerId="ADAL" clId="{13A7DD84-EBC7-44DF-A4B8-478E332BAF16}" dt="2021-08-05T16:11:45.220" v="63" actId="47"/>
        <pc:sldMkLst>
          <pc:docMk/>
          <pc:sldMk cId="1458715789" sldId="450"/>
        </pc:sldMkLst>
      </pc:sldChg>
      <pc:sldChg chg="del">
        <pc:chgData name="Thomas Stensitzki" userId="75cafe6b-2f2a-469b-85c4-eec3b9c972ba" providerId="ADAL" clId="{13A7DD84-EBC7-44DF-A4B8-478E332BAF16}" dt="2021-08-05T16:11:45.220" v="63" actId="47"/>
        <pc:sldMkLst>
          <pc:docMk/>
          <pc:sldMk cId="3121195372" sldId="451"/>
        </pc:sldMkLst>
      </pc:sldChg>
      <pc:sldChg chg="del">
        <pc:chgData name="Thomas Stensitzki" userId="75cafe6b-2f2a-469b-85c4-eec3b9c972ba" providerId="ADAL" clId="{13A7DD84-EBC7-44DF-A4B8-478E332BAF16}" dt="2021-08-05T16:11:45.220" v="63" actId="47"/>
        <pc:sldMkLst>
          <pc:docMk/>
          <pc:sldMk cId="2280653341" sldId="452"/>
        </pc:sldMkLst>
      </pc:sldChg>
      <pc:sldChg chg="del">
        <pc:chgData name="Thomas Stensitzki" userId="75cafe6b-2f2a-469b-85c4-eec3b9c972ba" providerId="ADAL" clId="{13A7DD84-EBC7-44DF-A4B8-478E332BAF16}" dt="2021-08-05T16:11:45.220" v="63" actId="47"/>
        <pc:sldMkLst>
          <pc:docMk/>
          <pc:sldMk cId="3153011246" sldId="453"/>
        </pc:sldMkLst>
      </pc:sldChg>
      <pc:sldChg chg="del">
        <pc:chgData name="Thomas Stensitzki" userId="75cafe6b-2f2a-469b-85c4-eec3b9c972ba" providerId="ADAL" clId="{13A7DD84-EBC7-44DF-A4B8-478E332BAF16}" dt="2021-08-05T16:11:45.220" v="63" actId="47"/>
        <pc:sldMkLst>
          <pc:docMk/>
          <pc:sldMk cId="2162326699" sldId="454"/>
        </pc:sldMkLst>
      </pc:sldChg>
      <pc:sldChg chg="del">
        <pc:chgData name="Thomas Stensitzki" userId="75cafe6b-2f2a-469b-85c4-eec3b9c972ba" providerId="ADAL" clId="{13A7DD84-EBC7-44DF-A4B8-478E332BAF16}" dt="2021-08-05T16:18:05.112" v="182" actId="47"/>
        <pc:sldMkLst>
          <pc:docMk/>
          <pc:sldMk cId="348069652" sldId="455"/>
        </pc:sldMkLst>
      </pc:sldChg>
      <pc:sldChg chg="del">
        <pc:chgData name="Thomas Stensitzki" userId="75cafe6b-2f2a-469b-85c4-eec3b9c972ba" providerId="ADAL" clId="{13A7DD84-EBC7-44DF-A4B8-478E332BAF16}" dt="2021-08-05T16:18:05.112" v="182" actId="47"/>
        <pc:sldMkLst>
          <pc:docMk/>
          <pc:sldMk cId="2139259870" sldId="456"/>
        </pc:sldMkLst>
      </pc:sldChg>
      <pc:sldChg chg="del">
        <pc:chgData name="Thomas Stensitzki" userId="75cafe6b-2f2a-469b-85c4-eec3b9c972ba" providerId="ADAL" clId="{13A7DD84-EBC7-44DF-A4B8-478E332BAF16}" dt="2021-08-05T16:11:45.220" v="63" actId="47"/>
        <pc:sldMkLst>
          <pc:docMk/>
          <pc:sldMk cId="1637553502" sldId="458"/>
        </pc:sldMkLst>
      </pc:sldChg>
      <pc:sldChg chg="del">
        <pc:chgData name="Thomas Stensitzki" userId="75cafe6b-2f2a-469b-85c4-eec3b9c972ba" providerId="ADAL" clId="{13A7DD84-EBC7-44DF-A4B8-478E332BAF16}" dt="2021-08-05T16:11:45.220" v="63" actId="47"/>
        <pc:sldMkLst>
          <pc:docMk/>
          <pc:sldMk cId="788649752" sldId="459"/>
        </pc:sldMkLst>
      </pc:sldChg>
      <pc:sldChg chg="del">
        <pc:chgData name="Thomas Stensitzki" userId="75cafe6b-2f2a-469b-85c4-eec3b9c972ba" providerId="ADAL" clId="{13A7DD84-EBC7-44DF-A4B8-478E332BAF16}" dt="2021-08-05T16:11:45.220" v="63" actId="47"/>
        <pc:sldMkLst>
          <pc:docMk/>
          <pc:sldMk cId="1264814093" sldId="460"/>
        </pc:sldMkLst>
      </pc:sldChg>
      <pc:sldChg chg="del">
        <pc:chgData name="Thomas Stensitzki" userId="75cafe6b-2f2a-469b-85c4-eec3b9c972ba" providerId="ADAL" clId="{13A7DD84-EBC7-44DF-A4B8-478E332BAF16}" dt="2021-08-05T16:11:45.220" v="63" actId="47"/>
        <pc:sldMkLst>
          <pc:docMk/>
          <pc:sldMk cId="3877520136" sldId="461"/>
        </pc:sldMkLst>
      </pc:sldChg>
      <pc:sldChg chg="del">
        <pc:chgData name="Thomas Stensitzki" userId="75cafe6b-2f2a-469b-85c4-eec3b9c972ba" providerId="ADAL" clId="{13A7DD84-EBC7-44DF-A4B8-478E332BAF16}" dt="2021-08-05T16:11:45.220" v="63" actId="47"/>
        <pc:sldMkLst>
          <pc:docMk/>
          <pc:sldMk cId="2362987111" sldId="462"/>
        </pc:sldMkLst>
      </pc:sldChg>
      <pc:sldChg chg="del">
        <pc:chgData name="Thomas Stensitzki" userId="75cafe6b-2f2a-469b-85c4-eec3b9c972ba" providerId="ADAL" clId="{13A7DD84-EBC7-44DF-A4B8-478E332BAF16}" dt="2021-08-05T16:11:45.220" v="63" actId="47"/>
        <pc:sldMkLst>
          <pc:docMk/>
          <pc:sldMk cId="22916493" sldId="463"/>
        </pc:sldMkLst>
      </pc:sldChg>
      <pc:sldChg chg="del">
        <pc:chgData name="Thomas Stensitzki" userId="75cafe6b-2f2a-469b-85c4-eec3b9c972ba" providerId="ADAL" clId="{13A7DD84-EBC7-44DF-A4B8-478E332BAF16}" dt="2021-08-05T16:11:45.220" v="63" actId="47"/>
        <pc:sldMkLst>
          <pc:docMk/>
          <pc:sldMk cId="4141395919" sldId="464"/>
        </pc:sldMkLst>
      </pc:sldChg>
      <pc:sldChg chg="del">
        <pc:chgData name="Thomas Stensitzki" userId="75cafe6b-2f2a-469b-85c4-eec3b9c972ba" providerId="ADAL" clId="{13A7DD84-EBC7-44DF-A4B8-478E332BAF16}" dt="2021-08-05T16:11:45.220" v="63" actId="47"/>
        <pc:sldMkLst>
          <pc:docMk/>
          <pc:sldMk cId="2927016727" sldId="465"/>
        </pc:sldMkLst>
      </pc:sldChg>
      <pc:sldChg chg="del">
        <pc:chgData name="Thomas Stensitzki" userId="75cafe6b-2f2a-469b-85c4-eec3b9c972ba" providerId="ADAL" clId="{13A7DD84-EBC7-44DF-A4B8-478E332BAF16}" dt="2021-08-05T16:11:45.220" v="63" actId="47"/>
        <pc:sldMkLst>
          <pc:docMk/>
          <pc:sldMk cId="749460758" sldId="466"/>
        </pc:sldMkLst>
      </pc:sldChg>
      <pc:sldChg chg="del">
        <pc:chgData name="Thomas Stensitzki" userId="75cafe6b-2f2a-469b-85c4-eec3b9c972ba" providerId="ADAL" clId="{13A7DD84-EBC7-44DF-A4B8-478E332BAF16}" dt="2021-08-05T16:11:45.220" v="63" actId="47"/>
        <pc:sldMkLst>
          <pc:docMk/>
          <pc:sldMk cId="2400256164" sldId="467"/>
        </pc:sldMkLst>
      </pc:sldChg>
      <pc:sldChg chg="del">
        <pc:chgData name="Thomas Stensitzki" userId="75cafe6b-2f2a-469b-85c4-eec3b9c972ba" providerId="ADAL" clId="{13A7DD84-EBC7-44DF-A4B8-478E332BAF16}" dt="2021-08-05T16:11:45.220" v="63" actId="47"/>
        <pc:sldMkLst>
          <pc:docMk/>
          <pc:sldMk cId="980357780" sldId="468"/>
        </pc:sldMkLst>
      </pc:sldChg>
      <pc:sldChg chg="del">
        <pc:chgData name="Thomas Stensitzki" userId="75cafe6b-2f2a-469b-85c4-eec3b9c972ba" providerId="ADAL" clId="{13A7DD84-EBC7-44DF-A4B8-478E332BAF16}" dt="2021-08-05T16:11:45.220" v="63" actId="47"/>
        <pc:sldMkLst>
          <pc:docMk/>
          <pc:sldMk cId="1498882424" sldId="469"/>
        </pc:sldMkLst>
      </pc:sldChg>
      <pc:sldChg chg="del">
        <pc:chgData name="Thomas Stensitzki" userId="75cafe6b-2f2a-469b-85c4-eec3b9c972ba" providerId="ADAL" clId="{13A7DD84-EBC7-44DF-A4B8-478E332BAF16}" dt="2021-08-05T16:11:45.220" v="63" actId="47"/>
        <pc:sldMkLst>
          <pc:docMk/>
          <pc:sldMk cId="4225794366" sldId="470"/>
        </pc:sldMkLst>
      </pc:sldChg>
      <pc:sldChg chg="del">
        <pc:chgData name="Thomas Stensitzki" userId="75cafe6b-2f2a-469b-85c4-eec3b9c972ba" providerId="ADAL" clId="{13A7DD84-EBC7-44DF-A4B8-478E332BAF16}" dt="2021-08-05T16:11:45.220" v="63" actId="47"/>
        <pc:sldMkLst>
          <pc:docMk/>
          <pc:sldMk cId="755424041" sldId="471"/>
        </pc:sldMkLst>
      </pc:sldChg>
      <pc:sldChg chg="del">
        <pc:chgData name="Thomas Stensitzki" userId="75cafe6b-2f2a-469b-85c4-eec3b9c972ba" providerId="ADAL" clId="{13A7DD84-EBC7-44DF-A4B8-478E332BAF16}" dt="2021-08-05T16:11:45.220" v="63" actId="47"/>
        <pc:sldMkLst>
          <pc:docMk/>
          <pc:sldMk cId="2377230893" sldId="472"/>
        </pc:sldMkLst>
      </pc:sldChg>
      <pc:sldChg chg="del">
        <pc:chgData name="Thomas Stensitzki" userId="75cafe6b-2f2a-469b-85c4-eec3b9c972ba" providerId="ADAL" clId="{13A7DD84-EBC7-44DF-A4B8-478E332BAF16}" dt="2021-08-05T16:11:45.220" v="63" actId="47"/>
        <pc:sldMkLst>
          <pc:docMk/>
          <pc:sldMk cId="2293811491" sldId="473"/>
        </pc:sldMkLst>
      </pc:sldChg>
      <pc:sldChg chg="del">
        <pc:chgData name="Thomas Stensitzki" userId="75cafe6b-2f2a-469b-85c4-eec3b9c972ba" providerId="ADAL" clId="{13A7DD84-EBC7-44DF-A4B8-478E332BAF16}" dt="2021-08-05T16:11:45.220" v="63" actId="47"/>
        <pc:sldMkLst>
          <pc:docMk/>
          <pc:sldMk cId="3651213508" sldId="474"/>
        </pc:sldMkLst>
      </pc:sldChg>
      <pc:sldChg chg="del">
        <pc:chgData name="Thomas Stensitzki" userId="75cafe6b-2f2a-469b-85c4-eec3b9c972ba" providerId="ADAL" clId="{13A7DD84-EBC7-44DF-A4B8-478E332BAF16}" dt="2021-08-05T16:11:45.220" v="63" actId="47"/>
        <pc:sldMkLst>
          <pc:docMk/>
          <pc:sldMk cId="2954743898" sldId="475"/>
        </pc:sldMkLst>
      </pc:sldChg>
      <pc:sldChg chg="del">
        <pc:chgData name="Thomas Stensitzki" userId="75cafe6b-2f2a-469b-85c4-eec3b9c972ba" providerId="ADAL" clId="{13A7DD84-EBC7-44DF-A4B8-478E332BAF16}" dt="2021-08-05T16:11:45.220" v="63" actId="47"/>
        <pc:sldMkLst>
          <pc:docMk/>
          <pc:sldMk cId="3637848067" sldId="476"/>
        </pc:sldMkLst>
      </pc:sldChg>
      <pc:sldChg chg="del">
        <pc:chgData name="Thomas Stensitzki" userId="75cafe6b-2f2a-469b-85c4-eec3b9c972ba" providerId="ADAL" clId="{13A7DD84-EBC7-44DF-A4B8-478E332BAF16}" dt="2021-08-05T16:11:45.220" v="63" actId="47"/>
        <pc:sldMkLst>
          <pc:docMk/>
          <pc:sldMk cId="1694765860" sldId="477"/>
        </pc:sldMkLst>
      </pc:sldChg>
      <pc:sldChg chg="del">
        <pc:chgData name="Thomas Stensitzki" userId="75cafe6b-2f2a-469b-85c4-eec3b9c972ba" providerId="ADAL" clId="{13A7DD84-EBC7-44DF-A4B8-478E332BAF16}" dt="2021-08-05T16:11:45.220" v="63" actId="47"/>
        <pc:sldMkLst>
          <pc:docMk/>
          <pc:sldMk cId="1953275783" sldId="478"/>
        </pc:sldMkLst>
      </pc:sldChg>
      <pc:sldChg chg="del">
        <pc:chgData name="Thomas Stensitzki" userId="75cafe6b-2f2a-469b-85c4-eec3b9c972ba" providerId="ADAL" clId="{13A7DD84-EBC7-44DF-A4B8-478E332BAF16}" dt="2021-08-05T16:11:45.220" v="63" actId="47"/>
        <pc:sldMkLst>
          <pc:docMk/>
          <pc:sldMk cId="642574017" sldId="479"/>
        </pc:sldMkLst>
      </pc:sldChg>
      <pc:sldChg chg="del">
        <pc:chgData name="Thomas Stensitzki" userId="75cafe6b-2f2a-469b-85c4-eec3b9c972ba" providerId="ADAL" clId="{13A7DD84-EBC7-44DF-A4B8-478E332BAF16}" dt="2021-08-05T16:11:45.220" v="63" actId="47"/>
        <pc:sldMkLst>
          <pc:docMk/>
          <pc:sldMk cId="2167556490" sldId="480"/>
        </pc:sldMkLst>
      </pc:sldChg>
      <pc:sldChg chg="del">
        <pc:chgData name="Thomas Stensitzki" userId="75cafe6b-2f2a-469b-85c4-eec3b9c972ba" providerId="ADAL" clId="{13A7DD84-EBC7-44DF-A4B8-478E332BAF16}" dt="2021-08-05T16:18:05.112" v="182" actId="47"/>
        <pc:sldMkLst>
          <pc:docMk/>
          <pc:sldMk cId="1129715017" sldId="481"/>
        </pc:sldMkLst>
      </pc:sldChg>
      <pc:sldChg chg="del">
        <pc:chgData name="Thomas Stensitzki" userId="75cafe6b-2f2a-469b-85c4-eec3b9c972ba" providerId="ADAL" clId="{13A7DD84-EBC7-44DF-A4B8-478E332BAF16}" dt="2021-08-05T16:18:05.112" v="182" actId="47"/>
        <pc:sldMkLst>
          <pc:docMk/>
          <pc:sldMk cId="447580809" sldId="482"/>
        </pc:sldMkLst>
      </pc:sldChg>
      <pc:sldChg chg="del">
        <pc:chgData name="Thomas Stensitzki" userId="75cafe6b-2f2a-469b-85c4-eec3b9c972ba" providerId="ADAL" clId="{13A7DD84-EBC7-44DF-A4B8-478E332BAF16}" dt="2021-08-05T16:18:05.112" v="182" actId="47"/>
        <pc:sldMkLst>
          <pc:docMk/>
          <pc:sldMk cId="2109578151" sldId="483"/>
        </pc:sldMkLst>
      </pc:sldChg>
      <pc:sldChg chg="del">
        <pc:chgData name="Thomas Stensitzki" userId="75cafe6b-2f2a-469b-85c4-eec3b9c972ba" providerId="ADAL" clId="{13A7DD84-EBC7-44DF-A4B8-478E332BAF16}" dt="2021-08-05T16:18:05.112" v="182" actId="47"/>
        <pc:sldMkLst>
          <pc:docMk/>
          <pc:sldMk cId="3880581928" sldId="484"/>
        </pc:sldMkLst>
      </pc:sldChg>
      <pc:sldChg chg="del">
        <pc:chgData name="Thomas Stensitzki" userId="75cafe6b-2f2a-469b-85c4-eec3b9c972ba" providerId="ADAL" clId="{13A7DD84-EBC7-44DF-A4B8-478E332BAF16}" dt="2021-08-05T16:18:05.112" v="182" actId="47"/>
        <pc:sldMkLst>
          <pc:docMk/>
          <pc:sldMk cId="1578197255" sldId="485"/>
        </pc:sldMkLst>
      </pc:sldChg>
      <pc:sldChg chg="del">
        <pc:chgData name="Thomas Stensitzki" userId="75cafe6b-2f2a-469b-85c4-eec3b9c972ba" providerId="ADAL" clId="{13A7DD84-EBC7-44DF-A4B8-478E332BAF16}" dt="2021-08-05T16:18:05.112" v="182" actId="47"/>
        <pc:sldMkLst>
          <pc:docMk/>
          <pc:sldMk cId="129048746" sldId="486"/>
        </pc:sldMkLst>
      </pc:sldChg>
      <pc:sldChg chg="del">
        <pc:chgData name="Thomas Stensitzki" userId="75cafe6b-2f2a-469b-85c4-eec3b9c972ba" providerId="ADAL" clId="{13A7DD84-EBC7-44DF-A4B8-478E332BAF16}" dt="2021-08-05T16:18:05.112" v="182" actId="47"/>
        <pc:sldMkLst>
          <pc:docMk/>
          <pc:sldMk cId="3805749550" sldId="487"/>
        </pc:sldMkLst>
      </pc:sldChg>
      <pc:sldChg chg="del">
        <pc:chgData name="Thomas Stensitzki" userId="75cafe6b-2f2a-469b-85c4-eec3b9c972ba" providerId="ADAL" clId="{13A7DD84-EBC7-44DF-A4B8-478E332BAF16}" dt="2021-08-05T16:18:05.112" v="182" actId="47"/>
        <pc:sldMkLst>
          <pc:docMk/>
          <pc:sldMk cId="2133647224" sldId="488"/>
        </pc:sldMkLst>
      </pc:sldChg>
      <pc:sldChg chg="del">
        <pc:chgData name="Thomas Stensitzki" userId="75cafe6b-2f2a-469b-85c4-eec3b9c972ba" providerId="ADAL" clId="{13A7DD84-EBC7-44DF-A4B8-478E332BAF16}" dt="2021-08-05T16:18:05.112" v="182" actId="47"/>
        <pc:sldMkLst>
          <pc:docMk/>
          <pc:sldMk cId="3106687663" sldId="489"/>
        </pc:sldMkLst>
      </pc:sldChg>
      <pc:sldChg chg="del">
        <pc:chgData name="Thomas Stensitzki" userId="75cafe6b-2f2a-469b-85c4-eec3b9c972ba" providerId="ADAL" clId="{13A7DD84-EBC7-44DF-A4B8-478E332BAF16}" dt="2021-08-05T16:18:05.112" v="182" actId="47"/>
        <pc:sldMkLst>
          <pc:docMk/>
          <pc:sldMk cId="344419499" sldId="490"/>
        </pc:sldMkLst>
      </pc:sldChg>
      <pc:sldChg chg="del">
        <pc:chgData name="Thomas Stensitzki" userId="75cafe6b-2f2a-469b-85c4-eec3b9c972ba" providerId="ADAL" clId="{13A7DD84-EBC7-44DF-A4B8-478E332BAF16}" dt="2021-08-12T15:31:16.630" v="1636" actId="2696"/>
        <pc:sldMkLst>
          <pc:docMk/>
          <pc:sldMk cId="3946489210" sldId="491"/>
        </pc:sldMkLst>
      </pc:sldChg>
      <pc:sldChg chg="addSp delSp modSp add mod">
        <pc:chgData name="Thomas Stensitzki" userId="75cafe6b-2f2a-469b-85c4-eec3b9c972ba" providerId="ADAL" clId="{13A7DD84-EBC7-44DF-A4B8-478E332BAF16}" dt="2021-08-05T16:59:25.619" v="912" actId="790"/>
        <pc:sldMkLst>
          <pc:docMk/>
          <pc:sldMk cId="403790565" sldId="492"/>
        </pc:sldMkLst>
        <pc:spChg chg="mod">
          <ac:chgData name="Thomas Stensitzki" userId="75cafe6b-2f2a-469b-85c4-eec3b9c972ba" providerId="ADAL" clId="{13A7DD84-EBC7-44DF-A4B8-478E332BAF16}" dt="2021-08-05T16:25:18.653" v="268"/>
          <ac:spMkLst>
            <pc:docMk/>
            <pc:sldMk cId="403790565" sldId="492"/>
            <ac:spMk id="2" creationId="{11E5EEC8-6493-4BA0-8811-4A3F48FE62AF}"/>
          </ac:spMkLst>
        </pc:spChg>
        <pc:spChg chg="add mod">
          <ac:chgData name="Thomas Stensitzki" userId="75cafe6b-2f2a-469b-85c4-eec3b9c972ba" providerId="ADAL" clId="{13A7DD84-EBC7-44DF-A4B8-478E332BAF16}" dt="2021-08-05T16:59:25.619" v="912" actId="790"/>
          <ac:spMkLst>
            <pc:docMk/>
            <pc:sldMk cId="403790565" sldId="492"/>
            <ac:spMk id="3" creationId="{52910FE7-5E69-4FCA-A4D2-6F1A33BA60A4}"/>
          </ac:spMkLst>
        </pc:spChg>
        <pc:picChg chg="del">
          <ac:chgData name="Thomas Stensitzki" userId="75cafe6b-2f2a-469b-85c4-eec3b9c972ba" providerId="ADAL" clId="{13A7DD84-EBC7-44DF-A4B8-478E332BAF16}" dt="2021-08-05T16:25:19.900" v="269" actId="478"/>
          <ac:picMkLst>
            <pc:docMk/>
            <pc:sldMk cId="403790565" sldId="492"/>
            <ac:picMk id="1026" creationId="{043285E5-2210-4AFC-A5D8-BFCD39482712}"/>
          </ac:picMkLst>
        </pc:picChg>
        <pc:picChg chg="add mod">
          <ac:chgData name="Thomas Stensitzki" userId="75cafe6b-2f2a-469b-85c4-eec3b9c972ba" providerId="ADAL" clId="{13A7DD84-EBC7-44DF-A4B8-478E332BAF16}" dt="2021-08-05T16:29:50.192" v="275" actId="1076"/>
          <ac:picMkLst>
            <pc:docMk/>
            <pc:sldMk cId="403790565" sldId="492"/>
            <ac:picMk id="2050" creationId="{23B40704-F350-4227-A4EE-BD692626FE48}"/>
          </ac:picMkLst>
        </pc:picChg>
      </pc:sldChg>
      <pc:sldChg chg="addSp delSp modSp new mod modAnim modNotesTx">
        <pc:chgData name="Thomas Stensitzki" userId="75cafe6b-2f2a-469b-85c4-eec3b9c972ba" providerId="ADAL" clId="{13A7DD84-EBC7-44DF-A4B8-478E332BAF16}" dt="2021-08-12T16:41:54.915" v="1668" actId="6549"/>
        <pc:sldMkLst>
          <pc:docMk/>
          <pc:sldMk cId="2819505311" sldId="493"/>
        </pc:sldMkLst>
        <pc:spChg chg="mod">
          <ac:chgData name="Thomas Stensitzki" userId="75cafe6b-2f2a-469b-85c4-eec3b9c972ba" providerId="ADAL" clId="{13A7DD84-EBC7-44DF-A4B8-478E332BAF16}" dt="2021-08-05T16:46:55.632" v="656" actId="1076"/>
          <ac:spMkLst>
            <pc:docMk/>
            <pc:sldMk cId="2819505311" sldId="493"/>
            <ac:spMk id="2" creationId="{8F9CB091-66F7-473E-B226-0F8B50A800CE}"/>
          </ac:spMkLst>
        </pc:spChg>
        <pc:spChg chg="del">
          <ac:chgData name="Thomas Stensitzki" userId="75cafe6b-2f2a-469b-85c4-eec3b9c972ba" providerId="ADAL" clId="{13A7DD84-EBC7-44DF-A4B8-478E332BAF16}" dt="2021-08-05T16:32:10.324" v="352" actId="478"/>
          <ac:spMkLst>
            <pc:docMk/>
            <pc:sldMk cId="2819505311" sldId="493"/>
            <ac:spMk id="3" creationId="{E5F315F0-F5B1-44D9-B6C0-079FB14FE7D4}"/>
          </ac:spMkLst>
        </pc:spChg>
        <pc:spChg chg="add mod">
          <ac:chgData name="Thomas Stensitzki" userId="75cafe6b-2f2a-469b-85c4-eec3b9c972ba" providerId="ADAL" clId="{13A7DD84-EBC7-44DF-A4B8-478E332BAF16}" dt="2021-08-12T16:41:54.915" v="1668" actId="6549"/>
          <ac:spMkLst>
            <pc:docMk/>
            <pc:sldMk cId="2819505311" sldId="493"/>
            <ac:spMk id="4" creationId="{42606201-5103-4444-A681-579EB68D443C}"/>
          </ac:spMkLst>
        </pc:spChg>
        <pc:picChg chg="add mod">
          <ac:chgData name="Thomas Stensitzki" userId="75cafe6b-2f2a-469b-85c4-eec3b9c972ba" providerId="ADAL" clId="{13A7DD84-EBC7-44DF-A4B8-478E332BAF16}" dt="2021-08-05T16:46:59.405" v="657" actId="1076"/>
          <ac:picMkLst>
            <pc:docMk/>
            <pc:sldMk cId="2819505311" sldId="493"/>
            <ac:picMk id="5122" creationId="{48B9E9CF-EC75-47A3-9400-56151FD8B6E7}"/>
          </ac:picMkLst>
        </pc:picChg>
        <pc:picChg chg="add mod">
          <ac:chgData name="Thomas Stensitzki" userId="75cafe6b-2f2a-469b-85c4-eec3b9c972ba" providerId="ADAL" clId="{13A7DD84-EBC7-44DF-A4B8-478E332BAF16}" dt="2021-08-05T16:47:20.275" v="663" actId="1076"/>
          <ac:picMkLst>
            <pc:docMk/>
            <pc:sldMk cId="2819505311" sldId="493"/>
            <ac:picMk id="5124" creationId="{7234D255-8952-4E9E-8EC1-9EF604151553}"/>
          </ac:picMkLst>
        </pc:picChg>
      </pc:sldChg>
      <pc:sldChg chg="addSp delSp modSp new mod modClrScheme modAnim chgLayout modNotesTx">
        <pc:chgData name="Thomas Stensitzki" userId="75cafe6b-2f2a-469b-85c4-eec3b9c972ba" providerId="ADAL" clId="{13A7DD84-EBC7-44DF-A4B8-478E332BAF16}" dt="2021-08-05T16:42:05.804" v="577"/>
        <pc:sldMkLst>
          <pc:docMk/>
          <pc:sldMk cId="900203790" sldId="494"/>
        </pc:sldMkLst>
        <pc:spChg chg="mod ord">
          <ac:chgData name="Thomas Stensitzki" userId="75cafe6b-2f2a-469b-85c4-eec3b9c972ba" providerId="ADAL" clId="{13A7DD84-EBC7-44DF-A4B8-478E332BAF16}" dt="2021-08-05T16:40:43.153" v="566" actId="700"/>
          <ac:spMkLst>
            <pc:docMk/>
            <pc:sldMk cId="900203790" sldId="494"/>
            <ac:spMk id="2" creationId="{56BF7A1E-D40C-4898-A8CB-ADA4F3BA657B}"/>
          </ac:spMkLst>
        </pc:spChg>
        <pc:spChg chg="del">
          <ac:chgData name="Thomas Stensitzki" userId="75cafe6b-2f2a-469b-85c4-eec3b9c972ba" providerId="ADAL" clId="{13A7DD84-EBC7-44DF-A4B8-478E332BAF16}" dt="2021-08-05T16:40:43.153" v="566" actId="700"/>
          <ac:spMkLst>
            <pc:docMk/>
            <pc:sldMk cId="900203790" sldId="494"/>
            <ac:spMk id="3" creationId="{F5C857EC-2563-4D35-B02F-52521105D61F}"/>
          </ac:spMkLst>
        </pc:spChg>
        <pc:picChg chg="add mod">
          <ac:chgData name="Thomas Stensitzki" userId="75cafe6b-2f2a-469b-85c4-eec3b9c972ba" providerId="ADAL" clId="{13A7DD84-EBC7-44DF-A4B8-478E332BAF16}" dt="2021-08-05T16:41:09.158" v="571" actId="14100"/>
          <ac:picMkLst>
            <pc:docMk/>
            <pc:sldMk cId="900203790" sldId="494"/>
            <ac:picMk id="3074" creationId="{9F24576B-4732-4D78-BD2F-59B8EEC14336}"/>
          </ac:picMkLst>
        </pc:picChg>
        <pc:picChg chg="add mod">
          <ac:chgData name="Thomas Stensitzki" userId="75cafe6b-2f2a-469b-85c4-eec3b9c972ba" providerId="ADAL" clId="{13A7DD84-EBC7-44DF-A4B8-478E332BAF16}" dt="2021-08-05T16:41:28.820" v="575" actId="14100"/>
          <ac:picMkLst>
            <pc:docMk/>
            <pc:sldMk cId="900203790" sldId="494"/>
            <ac:picMk id="3076" creationId="{905BD15B-7BD4-4DBE-A18F-04FB2D44551F}"/>
          </ac:picMkLst>
        </pc:picChg>
      </pc:sldChg>
      <pc:sldChg chg="addSp modSp new mod modAnim">
        <pc:chgData name="Thomas Stensitzki" userId="75cafe6b-2f2a-469b-85c4-eec3b9c972ba" providerId="ADAL" clId="{13A7DD84-EBC7-44DF-A4B8-478E332BAF16}" dt="2021-08-05T16:45:06.300" v="632"/>
        <pc:sldMkLst>
          <pc:docMk/>
          <pc:sldMk cId="2871162903" sldId="495"/>
        </pc:sldMkLst>
        <pc:spChg chg="mod">
          <ac:chgData name="Thomas Stensitzki" userId="75cafe6b-2f2a-469b-85c4-eec3b9c972ba" providerId="ADAL" clId="{13A7DD84-EBC7-44DF-A4B8-478E332BAF16}" dt="2021-08-05T16:42:57.926" v="601"/>
          <ac:spMkLst>
            <pc:docMk/>
            <pc:sldMk cId="2871162903" sldId="495"/>
            <ac:spMk id="2" creationId="{15C4489B-6A08-49A2-8CCF-F8592E44419F}"/>
          </ac:spMkLst>
        </pc:spChg>
        <pc:spChg chg="add mod">
          <ac:chgData name="Thomas Stensitzki" userId="75cafe6b-2f2a-469b-85c4-eec3b9c972ba" providerId="ADAL" clId="{13A7DD84-EBC7-44DF-A4B8-478E332BAF16}" dt="2021-08-05T16:44:40.118" v="618" actId="1076"/>
          <ac:spMkLst>
            <pc:docMk/>
            <pc:sldMk cId="2871162903" sldId="495"/>
            <ac:spMk id="6" creationId="{A011C0D1-A81B-4EC0-BFE3-117919143D5F}"/>
          </ac:spMkLst>
        </pc:spChg>
        <pc:picChg chg="add mod">
          <ac:chgData name="Thomas Stensitzki" userId="75cafe6b-2f2a-469b-85c4-eec3b9c972ba" providerId="ADAL" clId="{13A7DD84-EBC7-44DF-A4B8-478E332BAF16}" dt="2021-08-05T16:43:28.400" v="605" actId="1582"/>
          <ac:picMkLst>
            <pc:docMk/>
            <pc:sldMk cId="2871162903" sldId="495"/>
            <ac:picMk id="3" creationId="{BA854DDC-5027-4D56-B9FC-F22CFF2DA0E4}"/>
          </ac:picMkLst>
        </pc:picChg>
        <pc:picChg chg="add mod">
          <ac:chgData name="Thomas Stensitzki" userId="75cafe6b-2f2a-469b-85c4-eec3b9c972ba" providerId="ADAL" clId="{13A7DD84-EBC7-44DF-A4B8-478E332BAF16}" dt="2021-08-05T16:44:15.602" v="613" actId="1076"/>
          <ac:picMkLst>
            <pc:docMk/>
            <pc:sldMk cId="2871162903" sldId="495"/>
            <ac:picMk id="4098" creationId="{55B18317-2B4E-4C63-89B8-0ED48B2B1AA1}"/>
          </ac:picMkLst>
        </pc:picChg>
        <pc:picChg chg="add mod">
          <ac:chgData name="Thomas Stensitzki" userId="75cafe6b-2f2a-469b-85c4-eec3b9c972ba" providerId="ADAL" clId="{13A7DD84-EBC7-44DF-A4B8-478E332BAF16}" dt="2021-08-05T16:44:26.633" v="616" actId="1076"/>
          <ac:picMkLst>
            <pc:docMk/>
            <pc:sldMk cId="2871162903" sldId="495"/>
            <ac:picMk id="4100" creationId="{9AF05ECE-8E7A-4AC0-A561-A769FD378C58}"/>
          </ac:picMkLst>
        </pc:picChg>
      </pc:sldChg>
      <pc:sldChg chg="addSp modSp new mod">
        <pc:chgData name="Thomas Stensitzki" userId="75cafe6b-2f2a-469b-85c4-eec3b9c972ba" providerId="ADAL" clId="{13A7DD84-EBC7-44DF-A4B8-478E332BAF16}" dt="2021-08-05T16:59:11.539" v="911" actId="790"/>
        <pc:sldMkLst>
          <pc:docMk/>
          <pc:sldMk cId="503783842" sldId="496"/>
        </pc:sldMkLst>
        <pc:spChg chg="mod">
          <ac:chgData name="Thomas Stensitzki" userId="75cafe6b-2f2a-469b-85c4-eec3b9c972ba" providerId="ADAL" clId="{13A7DD84-EBC7-44DF-A4B8-478E332BAF16}" dt="2021-08-05T16:56:28.552" v="886"/>
          <ac:spMkLst>
            <pc:docMk/>
            <pc:sldMk cId="503783842" sldId="496"/>
            <ac:spMk id="2" creationId="{B7F35375-0E29-4118-B455-EB8E2CA1CC5A}"/>
          </ac:spMkLst>
        </pc:spChg>
        <pc:spChg chg="add mod">
          <ac:chgData name="Thomas Stensitzki" userId="75cafe6b-2f2a-469b-85c4-eec3b9c972ba" providerId="ADAL" clId="{13A7DD84-EBC7-44DF-A4B8-478E332BAF16}" dt="2021-08-05T16:59:11.539" v="911" actId="790"/>
          <ac:spMkLst>
            <pc:docMk/>
            <pc:sldMk cId="503783842" sldId="496"/>
            <ac:spMk id="4" creationId="{FB7B6BF2-BF6B-4413-8036-CE968BC9F52A}"/>
          </ac:spMkLst>
        </pc:spChg>
        <pc:picChg chg="add mod modCrop">
          <ac:chgData name="Thomas Stensitzki" userId="75cafe6b-2f2a-469b-85c4-eec3b9c972ba" providerId="ADAL" clId="{13A7DD84-EBC7-44DF-A4B8-478E332BAF16}" dt="2021-08-05T16:57:26.373" v="894" actId="732"/>
          <ac:picMkLst>
            <pc:docMk/>
            <pc:sldMk cId="503783842" sldId="496"/>
            <ac:picMk id="3" creationId="{99397DF0-DADB-4409-B39C-78F6B6EEB051}"/>
          </ac:picMkLst>
        </pc:picChg>
      </pc:sldChg>
      <pc:sldChg chg="addSp delSp modSp new mod modClrScheme modAnim chgLayout">
        <pc:chgData name="Thomas Stensitzki" userId="75cafe6b-2f2a-469b-85c4-eec3b9c972ba" providerId="ADAL" clId="{13A7DD84-EBC7-44DF-A4B8-478E332BAF16}" dt="2021-08-05T17:05:08.071" v="988"/>
        <pc:sldMkLst>
          <pc:docMk/>
          <pc:sldMk cId="1558837248" sldId="497"/>
        </pc:sldMkLst>
        <pc:spChg chg="del mod ord">
          <ac:chgData name="Thomas Stensitzki" userId="75cafe6b-2f2a-469b-85c4-eec3b9c972ba" providerId="ADAL" clId="{13A7DD84-EBC7-44DF-A4B8-478E332BAF16}" dt="2021-08-05T17:02:44.111" v="966" actId="700"/>
          <ac:spMkLst>
            <pc:docMk/>
            <pc:sldMk cId="1558837248" sldId="497"/>
            <ac:spMk id="2" creationId="{69C51ED4-3940-4F14-8B0D-AA4601891FB8}"/>
          </ac:spMkLst>
        </pc:spChg>
        <pc:spChg chg="del">
          <ac:chgData name="Thomas Stensitzki" userId="75cafe6b-2f2a-469b-85c4-eec3b9c972ba" providerId="ADAL" clId="{13A7DD84-EBC7-44DF-A4B8-478E332BAF16}" dt="2021-08-05T17:02:44.111" v="966" actId="700"/>
          <ac:spMkLst>
            <pc:docMk/>
            <pc:sldMk cId="1558837248" sldId="497"/>
            <ac:spMk id="3" creationId="{FB1E46B9-CD68-45B3-8D97-0E2AB0527B7E}"/>
          </ac:spMkLst>
        </pc:spChg>
        <pc:spChg chg="add mod ord">
          <ac:chgData name="Thomas Stensitzki" userId="75cafe6b-2f2a-469b-85c4-eec3b9c972ba" providerId="ADAL" clId="{13A7DD84-EBC7-44DF-A4B8-478E332BAF16}" dt="2021-08-05T17:03:03.097" v="970" actId="14100"/>
          <ac:spMkLst>
            <pc:docMk/>
            <pc:sldMk cId="1558837248" sldId="497"/>
            <ac:spMk id="4" creationId="{89E5E786-9479-4281-A319-525DF43CE462}"/>
          </ac:spMkLst>
        </pc:spChg>
        <pc:picChg chg="add mod">
          <ac:chgData name="Thomas Stensitzki" userId="75cafe6b-2f2a-469b-85c4-eec3b9c972ba" providerId="ADAL" clId="{13A7DD84-EBC7-44DF-A4B8-478E332BAF16}" dt="2021-08-05T17:03:33.862" v="976" actId="1076"/>
          <ac:picMkLst>
            <pc:docMk/>
            <pc:sldMk cId="1558837248" sldId="497"/>
            <ac:picMk id="6146" creationId="{9A16EA35-B6EC-41E2-9608-1AA88EBC50F4}"/>
          </ac:picMkLst>
        </pc:picChg>
        <pc:picChg chg="add mod">
          <ac:chgData name="Thomas Stensitzki" userId="75cafe6b-2f2a-469b-85c4-eec3b9c972ba" providerId="ADAL" clId="{13A7DD84-EBC7-44DF-A4B8-478E332BAF16}" dt="2021-08-05T17:03:43.313" v="978" actId="1582"/>
          <ac:picMkLst>
            <pc:docMk/>
            <pc:sldMk cId="1558837248" sldId="497"/>
            <ac:picMk id="6148" creationId="{CC357F81-EE87-468F-96BF-BBE453B5A62E}"/>
          </ac:picMkLst>
        </pc:picChg>
        <pc:picChg chg="add mod">
          <ac:chgData name="Thomas Stensitzki" userId="75cafe6b-2f2a-469b-85c4-eec3b9c972ba" providerId="ADAL" clId="{13A7DD84-EBC7-44DF-A4B8-478E332BAF16}" dt="2021-08-05T17:04:44.398" v="986" actId="1076"/>
          <ac:picMkLst>
            <pc:docMk/>
            <pc:sldMk cId="1558837248" sldId="497"/>
            <ac:picMk id="6150" creationId="{995EC3C0-E0B3-4717-BB9A-A538D12F17B4}"/>
          </ac:picMkLst>
        </pc:picChg>
      </pc:sldChg>
      <pc:sldChg chg="modSp add mod ord">
        <pc:chgData name="Thomas Stensitzki" userId="75cafe6b-2f2a-469b-85c4-eec3b9c972ba" providerId="ADAL" clId="{13A7DD84-EBC7-44DF-A4B8-478E332BAF16}" dt="2021-08-10T16:57:13.622" v="1508" actId="14100"/>
        <pc:sldMkLst>
          <pc:docMk/>
          <pc:sldMk cId="4139680906" sldId="498"/>
        </pc:sldMkLst>
        <pc:spChg chg="mod">
          <ac:chgData name="Thomas Stensitzki" userId="75cafe6b-2f2a-469b-85c4-eec3b9c972ba" providerId="ADAL" clId="{13A7DD84-EBC7-44DF-A4B8-478E332BAF16}" dt="2021-08-10T16:57:13.622" v="1508" actId="14100"/>
          <ac:spMkLst>
            <pc:docMk/>
            <pc:sldMk cId="4139680906" sldId="498"/>
            <ac:spMk id="2" creationId="{909DC09D-B9A6-4493-9A72-1CA7ECB1F5CA}"/>
          </ac:spMkLst>
        </pc:spChg>
        <pc:spChg chg="mod">
          <ac:chgData name="Thomas Stensitzki" userId="75cafe6b-2f2a-469b-85c4-eec3b9c972ba" providerId="ADAL" clId="{13A7DD84-EBC7-44DF-A4B8-478E332BAF16}" dt="2021-08-10T16:57:05.903" v="1507" actId="20577"/>
          <ac:spMkLst>
            <pc:docMk/>
            <pc:sldMk cId="4139680906" sldId="498"/>
            <ac:spMk id="5" creationId="{C24DACB5-1BEC-4C86-9652-BAFD8DE56FEF}"/>
          </ac:spMkLst>
        </pc:spChg>
      </pc:sldChg>
      <pc:sldChg chg="addSp delSp modSp new mod modAnim modNotesTx">
        <pc:chgData name="Thomas Stensitzki" userId="75cafe6b-2f2a-469b-85c4-eec3b9c972ba" providerId="ADAL" clId="{13A7DD84-EBC7-44DF-A4B8-478E332BAF16}" dt="2021-08-10T16:54:10.286" v="1332"/>
        <pc:sldMkLst>
          <pc:docMk/>
          <pc:sldMk cId="1091876782" sldId="499"/>
        </pc:sldMkLst>
        <pc:spChg chg="mod">
          <ac:chgData name="Thomas Stensitzki" userId="75cafe6b-2f2a-469b-85c4-eec3b9c972ba" providerId="ADAL" clId="{13A7DD84-EBC7-44DF-A4B8-478E332BAF16}" dt="2021-08-05T17:18:42.160" v="1084"/>
          <ac:spMkLst>
            <pc:docMk/>
            <pc:sldMk cId="1091876782" sldId="499"/>
            <ac:spMk id="2" creationId="{D33506D9-1D44-4E8B-9B82-65AFBD9BDE53}"/>
          </ac:spMkLst>
        </pc:spChg>
        <pc:picChg chg="add mod">
          <ac:chgData name="Thomas Stensitzki" userId="75cafe6b-2f2a-469b-85c4-eec3b9c972ba" providerId="ADAL" clId="{13A7DD84-EBC7-44DF-A4B8-478E332BAF16}" dt="2021-08-05T17:22:21.389" v="1147" actId="1440"/>
          <ac:picMkLst>
            <pc:docMk/>
            <pc:sldMk cId="1091876782" sldId="499"/>
            <ac:picMk id="3" creationId="{EE4A2AB9-39AD-49DF-A297-C13FE0D693CD}"/>
          </ac:picMkLst>
        </pc:picChg>
        <pc:picChg chg="add mod">
          <ac:chgData name="Thomas Stensitzki" userId="75cafe6b-2f2a-469b-85c4-eec3b9c972ba" providerId="ADAL" clId="{13A7DD84-EBC7-44DF-A4B8-478E332BAF16}" dt="2021-08-05T17:22:25.461" v="1148" actId="1440"/>
          <ac:picMkLst>
            <pc:docMk/>
            <pc:sldMk cId="1091876782" sldId="499"/>
            <ac:picMk id="5" creationId="{D4104401-2A14-415F-9B7B-602DA7B40BAE}"/>
          </ac:picMkLst>
        </pc:picChg>
        <pc:picChg chg="add del mod">
          <ac:chgData name="Thomas Stensitzki" userId="75cafe6b-2f2a-469b-85c4-eec3b9c972ba" providerId="ADAL" clId="{13A7DD84-EBC7-44DF-A4B8-478E332BAF16}" dt="2021-08-05T17:19:49.825" v="1092" actId="478"/>
          <ac:picMkLst>
            <pc:docMk/>
            <pc:sldMk cId="1091876782" sldId="499"/>
            <ac:picMk id="8194" creationId="{67D65A69-A83B-43A4-BE74-BD7EC1B02204}"/>
          </ac:picMkLst>
        </pc:picChg>
        <pc:picChg chg="add mod">
          <ac:chgData name="Thomas Stensitzki" userId="75cafe6b-2f2a-469b-85c4-eec3b9c972ba" providerId="ADAL" clId="{13A7DD84-EBC7-44DF-A4B8-478E332BAF16}" dt="2021-08-05T17:22:14.998" v="1146" actId="1440"/>
          <ac:picMkLst>
            <pc:docMk/>
            <pc:sldMk cId="1091876782" sldId="499"/>
            <ac:picMk id="8196" creationId="{D6510E23-D3DC-46EF-806A-43289CE1280D}"/>
          </ac:picMkLst>
        </pc:picChg>
      </pc:sldChg>
      <pc:sldChg chg="addSp modSp new mod modNotesTx">
        <pc:chgData name="Thomas Stensitzki" userId="75cafe6b-2f2a-469b-85c4-eec3b9c972ba" providerId="ADAL" clId="{13A7DD84-EBC7-44DF-A4B8-478E332BAF16}" dt="2021-08-05T17:24:57.099" v="1178"/>
        <pc:sldMkLst>
          <pc:docMk/>
          <pc:sldMk cId="3233405587" sldId="500"/>
        </pc:sldMkLst>
        <pc:spChg chg="mod">
          <ac:chgData name="Thomas Stensitzki" userId="75cafe6b-2f2a-469b-85c4-eec3b9c972ba" providerId="ADAL" clId="{13A7DD84-EBC7-44DF-A4B8-478E332BAF16}" dt="2021-08-05T17:24:04.114" v="1170" actId="1076"/>
          <ac:spMkLst>
            <pc:docMk/>
            <pc:sldMk cId="3233405587" sldId="500"/>
            <ac:spMk id="2" creationId="{DA4C3CC7-19B9-4B6A-80D5-2768276B32DF}"/>
          </ac:spMkLst>
        </pc:spChg>
        <pc:picChg chg="add mod">
          <ac:chgData name="Thomas Stensitzki" userId="75cafe6b-2f2a-469b-85c4-eec3b9c972ba" providerId="ADAL" clId="{13A7DD84-EBC7-44DF-A4B8-478E332BAF16}" dt="2021-08-05T17:24:15.381" v="1173" actId="1440"/>
          <ac:picMkLst>
            <pc:docMk/>
            <pc:sldMk cId="3233405587" sldId="500"/>
            <ac:picMk id="10242" creationId="{A09CCC85-CE71-4434-B3D8-BB730F4BC6D3}"/>
          </ac:picMkLst>
        </pc:picChg>
      </pc:sldChg>
      <pc:sldChg chg="addSp delSp modSp add del mod">
        <pc:chgData name="Thomas Stensitzki" userId="75cafe6b-2f2a-469b-85c4-eec3b9c972ba" providerId="ADAL" clId="{13A7DD84-EBC7-44DF-A4B8-478E332BAF16}" dt="2021-08-05T17:22:31.063" v="1149" actId="47"/>
        <pc:sldMkLst>
          <pc:docMk/>
          <pc:sldMk cId="3953422346" sldId="500"/>
        </pc:sldMkLst>
        <pc:picChg chg="del">
          <ac:chgData name="Thomas Stensitzki" userId="75cafe6b-2f2a-469b-85c4-eec3b9c972ba" providerId="ADAL" clId="{13A7DD84-EBC7-44DF-A4B8-478E332BAF16}" dt="2021-08-05T17:20:03.055" v="1094" actId="478"/>
          <ac:picMkLst>
            <pc:docMk/>
            <pc:sldMk cId="3953422346" sldId="500"/>
            <ac:picMk id="3" creationId="{EE4A2AB9-39AD-49DF-A297-C13FE0D693CD}"/>
          </ac:picMkLst>
        </pc:picChg>
        <pc:picChg chg="add mod">
          <ac:chgData name="Thomas Stensitzki" userId="75cafe6b-2f2a-469b-85c4-eec3b9c972ba" providerId="ADAL" clId="{13A7DD84-EBC7-44DF-A4B8-478E332BAF16}" dt="2021-08-05T17:20:09.279" v="1097" actId="1076"/>
          <ac:picMkLst>
            <pc:docMk/>
            <pc:sldMk cId="3953422346" sldId="500"/>
            <ac:picMk id="9218" creationId="{B71FA1C6-0A05-4403-8027-4AABA67B905B}"/>
          </ac:picMkLst>
        </pc:picChg>
      </pc:sldChg>
      <pc:sldChg chg="modSp add mod ord">
        <pc:chgData name="Thomas Stensitzki" userId="75cafe6b-2f2a-469b-85c4-eec3b9c972ba" providerId="ADAL" clId="{13A7DD84-EBC7-44DF-A4B8-478E332BAF16}" dt="2021-08-10T16:52:35.276" v="1212" actId="1035"/>
        <pc:sldMkLst>
          <pc:docMk/>
          <pc:sldMk cId="1828632953" sldId="501"/>
        </pc:sldMkLst>
        <pc:spChg chg="mod">
          <ac:chgData name="Thomas Stensitzki" userId="75cafe6b-2f2a-469b-85c4-eec3b9c972ba" providerId="ADAL" clId="{13A7DD84-EBC7-44DF-A4B8-478E332BAF16}" dt="2021-08-10T16:52:35.276" v="1212" actId="1035"/>
          <ac:spMkLst>
            <pc:docMk/>
            <pc:sldMk cId="1828632953" sldId="501"/>
            <ac:spMk id="2" creationId="{909DC09D-B9A6-4493-9A72-1CA7ECB1F5CA}"/>
          </ac:spMkLst>
        </pc:spChg>
      </pc:sldChg>
      <pc:sldChg chg="modSp add mod">
        <pc:chgData name="Thomas Stensitzki" userId="75cafe6b-2f2a-469b-85c4-eec3b9c972ba" providerId="ADAL" clId="{13A7DD84-EBC7-44DF-A4B8-478E332BAF16}" dt="2021-08-10T16:52:53.743" v="1245" actId="14100"/>
        <pc:sldMkLst>
          <pc:docMk/>
          <pc:sldMk cId="705434850" sldId="502"/>
        </pc:sldMkLst>
        <pc:spChg chg="mod">
          <ac:chgData name="Thomas Stensitzki" userId="75cafe6b-2f2a-469b-85c4-eec3b9c972ba" providerId="ADAL" clId="{13A7DD84-EBC7-44DF-A4B8-478E332BAF16}" dt="2021-08-10T16:52:53.743" v="1245" actId="14100"/>
          <ac:spMkLst>
            <pc:docMk/>
            <pc:sldMk cId="705434850" sldId="502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13A7DD84-EBC7-44DF-A4B8-478E332BAF16}" dt="2021-08-10T16:53:11.242" v="1273" actId="14100"/>
        <pc:sldMkLst>
          <pc:docMk/>
          <pc:sldMk cId="2116552428" sldId="503"/>
        </pc:sldMkLst>
        <pc:spChg chg="mod">
          <ac:chgData name="Thomas Stensitzki" userId="75cafe6b-2f2a-469b-85c4-eec3b9c972ba" providerId="ADAL" clId="{13A7DD84-EBC7-44DF-A4B8-478E332BAF16}" dt="2021-08-10T16:53:11.242" v="1273" actId="14100"/>
          <ac:spMkLst>
            <pc:docMk/>
            <pc:sldMk cId="2116552428" sldId="503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13A7DD84-EBC7-44DF-A4B8-478E332BAF16}" dt="2021-08-10T16:53:21.263" v="1291" actId="1036"/>
        <pc:sldMkLst>
          <pc:docMk/>
          <pc:sldMk cId="2167590192" sldId="504"/>
        </pc:sldMkLst>
        <pc:spChg chg="mod">
          <ac:chgData name="Thomas Stensitzki" userId="75cafe6b-2f2a-469b-85c4-eec3b9c972ba" providerId="ADAL" clId="{13A7DD84-EBC7-44DF-A4B8-478E332BAF16}" dt="2021-08-10T16:53:21.263" v="1291" actId="1036"/>
          <ac:spMkLst>
            <pc:docMk/>
            <pc:sldMk cId="2167590192" sldId="504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13A7DD84-EBC7-44DF-A4B8-478E332BAF16}" dt="2021-08-10T16:53:40.039" v="1328" actId="14100"/>
        <pc:sldMkLst>
          <pc:docMk/>
          <pc:sldMk cId="2730644169" sldId="505"/>
        </pc:sldMkLst>
        <pc:spChg chg="mod">
          <ac:chgData name="Thomas Stensitzki" userId="75cafe6b-2f2a-469b-85c4-eec3b9c972ba" providerId="ADAL" clId="{13A7DD84-EBC7-44DF-A4B8-478E332BAF16}" dt="2021-08-10T16:53:40.039" v="1328" actId="14100"/>
          <ac:spMkLst>
            <pc:docMk/>
            <pc:sldMk cId="2730644169" sldId="505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13A7DD84-EBC7-44DF-A4B8-478E332BAF16}" dt="2021-08-10T16:56:27.659" v="1473" actId="20577"/>
        <pc:sldMkLst>
          <pc:docMk/>
          <pc:sldMk cId="1492262341" sldId="506"/>
        </pc:sldMkLst>
        <pc:spChg chg="mod">
          <ac:chgData name="Thomas Stensitzki" userId="75cafe6b-2f2a-469b-85c4-eec3b9c972ba" providerId="ADAL" clId="{13A7DD84-EBC7-44DF-A4B8-478E332BAF16}" dt="2021-08-10T16:55:06.419" v="1379" actId="14100"/>
          <ac:spMkLst>
            <pc:docMk/>
            <pc:sldMk cId="1492262341" sldId="506"/>
            <ac:spMk id="2" creationId="{909DC09D-B9A6-4493-9A72-1CA7ECB1F5CA}"/>
          </ac:spMkLst>
        </pc:spChg>
        <pc:spChg chg="mod">
          <ac:chgData name="Thomas Stensitzki" userId="75cafe6b-2f2a-469b-85c4-eec3b9c972ba" providerId="ADAL" clId="{13A7DD84-EBC7-44DF-A4B8-478E332BAF16}" dt="2021-08-10T16:56:27.659" v="1473" actId="20577"/>
          <ac:spMkLst>
            <pc:docMk/>
            <pc:sldMk cId="1492262341" sldId="506"/>
            <ac:spMk id="5" creationId="{C24DACB5-1BEC-4C86-9652-BAFD8DE56FEF}"/>
          </ac:spMkLst>
        </pc:spChg>
      </pc:sldChg>
      <pc:sldChg chg="modSp add mod">
        <pc:chgData name="Thomas Stensitzki" userId="75cafe6b-2f2a-469b-85c4-eec3b9c972ba" providerId="ADAL" clId="{13A7DD84-EBC7-44DF-A4B8-478E332BAF16}" dt="2021-08-10T16:56:24.464" v="1472" actId="20577"/>
        <pc:sldMkLst>
          <pc:docMk/>
          <pc:sldMk cId="2246989815" sldId="507"/>
        </pc:sldMkLst>
        <pc:spChg chg="mod">
          <ac:chgData name="Thomas Stensitzki" userId="75cafe6b-2f2a-469b-85c4-eec3b9c972ba" providerId="ADAL" clId="{13A7DD84-EBC7-44DF-A4B8-478E332BAF16}" dt="2021-08-10T16:55:22.616" v="1387" actId="1035"/>
          <ac:spMkLst>
            <pc:docMk/>
            <pc:sldMk cId="2246989815" sldId="507"/>
            <ac:spMk id="2" creationId="{909DC09D-B9A6-4493-9A72-1CA7ECB1F5CA}"/>
          </ac:spMkLst>
        </pc:spChg>
        <pc:spChg chg="mod">
          <ac:chgData name="Thomas Stensitzki" userId="75cafe6b-2f2a-469b-85c4-eec3b9c972ba" providerId="ADAL" clId="{13A7DD84-EBC7-44DF-A4B8-478E332BAF16}" dt="2021-08-10T16:56:24.464" v="1472" actId="20577"/>
          <ac:spMkLst>
            <pc:docMk/>
            <pc:sldMk cId="2246989815" sldId="507"/>
            <ac:spMk id="5" creationId="{C24DACB5-1BEC-4C86-9652-BAFD8DE56FEF}"/>
          </ac:spMkLst>
        </pc:spChg>
      </pc:sldChg>
      <pc:sldChg chg="modSp add mod">
        <pc:chgData name="Thomas Stensitzki" userId="75cafe6b-2f2a-469b-85c4-eec3b9c972ba" providerId="ADAL" clId="{13A7DD84-EBC7-44DF-A4B8-478E332BAF16}" dt="2021-08-10T16:56:19.865" v="1471" actId="20577"/>
        <pc:sldMkLst>
          <pc:docMk/>
          <pc:sldMk cId="389331669" sldId="508"/>
        </pc:sldMkLst>
        <pc:spChg chg="mod">
          <ac:chgData name="Thomas Stensitzki" userId="75cafe6b-2f2a-469b-85c4-eec3b9c972ba" providerId="ADAL" clId="{13A7DD84-EBC7-44DF-A4B8-478E332BAF16}" dt="2021-08-10T16:55:35.133" v="1417" actId="1036"/>
          <ac:spMkLst>
            <pc:docMk/>
            <pc:sldMk cId="389331669" sldId="508"/>
            <ac:spMk id="2" creationId="{909DC09D-B9A6-4493-9A72-1CA7ECB1F5CA}"/>
          </ac:spMkLst>
        </pc:spChg>
        <pc:spChg chg="mod">
          <ac:chgData name="Thomas Stensitzki" userId="75cafe6b-2f2a-469b-85c4-eec3b9c972ba" providerId="ADAL" clId="{13A7DD84-EBC7-44DF-A4B8-478E332BAF16}" dt="2021-08-10T16:56:19.865" v="1471" actId="20577"/>
          <ac:spMkLst>
            <pc:docMk/>
            <pc:sldMk cId="389331669" sldId="508"/>
            <ac:spMk id="5" creationId="{C24DACB5-1BEC-4C86-9652-BAFD8DE56FEF}"/>
          </ac:spMkLst>
        </pc:spChg>
      </pc:sldChg>
      <pc:sldChg chg="modSp add mod ord">
        <pc:chgData name="Thomas Stensitzki" userId="75cafe6b-2f2a-469b-85c4-eec3b9c972ba" providerId="ADAL" clId="{13A7DD84-EBC7-44DF-A4B8-478E332BAF16}" dt="2021-08-10T16:56:16.455" v="1470" actId="20577"/>
        <pc:sldMkLst>
          <pc:docMk/>
          <pc:sldMk cId="3227978394" sldId="509"/>
        </pc:sldMkLst>
        <pc:spChg chg="mod">
          <ac:chgData name="Thomas Stensitzki" userId="75cafe6b-2f2a-469b-85c4-eec3b9c972ba" providerId="ADAL" clId="{13A7DD84-EBC7-44DF-A4B8-478E332BAF16}" dt="2021-08-10T16:55:54.443" v="1442" actId="1036"/>
          <ac:spMkLst>
            <pc:docMk/>
            <pc:sldMk cId="3227978394" sldId="509"/>
            <ac:spMk id="2" creationId="{909DC09D-B9A6-4493-9A72-1CA7ECB1F5CA}"/>
          </ac:spMkLst>
        </pc:spChg>
        <pc:spChg chg="mod">
          <ac:chgData name="Thomas Stensitzki" userId="75cafe6b-2f2a-469b-85c4-eec3b9c972ba" providerId="ADAL" clId="{13A7DD84-EBC7-44DF-A4B8-478E332BAF16}" dt="2021-08-10T16:56:16.455" v="1470" actId="20577"/>
          <ac:spMkLst>
            <pc:docMk/>
            <pc:sldMk cId="3227978394" sldId="509"/>
            <ac:spMk id="5" creationId="{C24DACB5-1BEC-4C86-9652-BAFD8DE56FEF}"/>
          </ac:spMkLst>
        </pc:spChg>
      </pc:sldChg>
      <pc:sldChg chg="modSp add mod">
        <pc:chgData name="Thomas Stensitzki" userId="75cafe6b-2f2a-469b-85c4-eec3b9c972ba" providerId="ADAL" clId="{13A7DD84-EBC7-44DF-A4B8-478E332BAF16}" dt="2021-08-10T16:56:13.257" v="1469" actId="20577"/>
        <pc:sldMkLst>
          <pc:docMk/>
          <pc:sldMk cId="222762613" sldId="510"/>
        </pc:sldMkLst>
        <pc:spChg chg="mod">
          <ac:chgData name="Thomas Stensitzki" userId="75cafe6b-2f2a-469b-85c4-eec3b9c972ba" providerId="ADAL" clId="{13A7DD84-EBC7-44DF-A4B8-478E332BAF16}" dt="2021-08-10T16:56:10.651" v="1468" actId="14100"/>
          <ac:spMkLst>
            <pc:docMk/>
            <pc:sldMk cId="222762613" sldId="510"/>
            <ac:spMk id="2" creationId="{909DC09D-B9A6-4493-9A72-1CA7ECB1F5CA}"/>
          </ac:spMkLst>
        </pc:spChg>
        <pc:spChg chg="mod">
          <ac:chgData name="Thomas Stensitzki" userId="75cafe6b-2f2a-469b-85c4-eec3b9c972ba" providerId="ADAL" clId="{13A7DD84-EBC7-44DF-A4B8-478E332BAF16}" dt="2021-08-10T16:56:13.257" v="1469" actId="20577"/>
          <ac:spMkLst>
            <pc:docMk/>
            <pc:sldMk cId="222762613" sldId="510"/>
            <ac:spMk id="5" creationId="{C24DACB5-1BEC-4C86-9652-BAFD8DE56FEF}"/>
          </ac:spMkLst>
        </pc:spChg>
      </pc:sldChg>
      <pc:sldChg chg="modSp add mod">
        <pc:chgData name="Thomas Stensitzki" userId="75cafe6b-2f2a-469b-85c4-eec3b9c972ba" providerId="ADAL" clId="{13A7DD84-EBC7-44DF-A4B8-478E332BAF16}" dt="2021-08-10T16:56:51.530" v="1502" actId="1035"/>
        <pc:sldMkLst>
          <pc:docMk/>
          <pc:sldMk cId="1154144205" sldId="511"/>
        </pc:sldMkLst>
        <pc:spChg chg="mod">
          <ac:chgData name="Thomas Stensitzki" userId="75cafe6b-2f2a-469b-85c4-eec3b9c972ba" providerId="ADAL" clId="{13A7DD84-EBC7-44DF-A4B8-478E332BAF16}" dt="2021-08-10T16:56:51.530" v="1502" actId="1035"/>
          <ac:spMkLst>
            <pc:docMk/>
            <pc:sldMk cId="1154144205" sldId="511"/>
            <ac:spMk id="2" creationId="{909DC09D-B9A6-4493-9A72-1CA7ECB1F5CA}"/>
          </ac:spMkLst>
        </pc:spChg>
      </pc:sldChg>
      <pc:sldChg chg="modSp add mod">
        <pc:chgData name="Thomas Stensitzki" userId="75cafe6b-2f2a-469b-85c4-eec3b9c972ba" providerId="ADAL" clId="{13A7DD84-EBC7-44DF-A4B8-478E332BAF16}" dt="2021-08-10T16:57:27.205" v="1511" actId="14100"/>
        <pc:sldMkLst>
          <pc:docMk/>
          <pc:sldMk cId="409371138" sldId="512"/>
        </pc:sldMkLst>
        <pc:spChg chg="mod">
          <ac:chgData name="Thomas Stensitzki" userId="75cafe6b-2f2a-469b-85c4-eec3b9c972ba" providerId="ADAL" clId="{13A7DD84-EBC7-44DF-A4B8-478E332BAF16}" dt="2021-08-10T16:57:27.205" v="1511" actId="14100"/>
          <ac:spMkLst>
            <pc:docMk/>
            <pc:sldMk cId="409371138" sldId="512"/>
            <ac:spMk id="2" creationId="{909DC09D-B9A6-4493-9A72-1CA7ECB1F5CA}"/>
          </ac:spMkLst>
        </pc:spChg>
      </pc:sldChg>
      <pc:sldChg chg="addSp modSp new mod">
        <pc:chgData name="Thomas Stensitzki" userId="75cafe6b-2f2a-469b-85c4-eec3b9c972ba" providerId="ADAL" clId="{13A7DD84-EBC7-44DF-A4B8-478E332BAF16}" dt="2021-08-12T08:25:12.450" v="1635" actId="255"/>
        <pc:sldMkLst>
          <pc:docMk/>
          <pc:sldMk cId="2923837414" sldId="513"/>
        </pc:sldMkLst>
        <pc:spChg chg="mod">
          <ac:chgData name="Thomas Stensitzki" userId="75cafe6b-2f2a-469b-85c4-eec3b9c972ba" providerId="ADAL" clId="{13A7DD84-EBC7-44DF-A4B8-478E332BAF16}" dt="2021-08-12T08:21:38.595" v="1578" actId="20577"/>
          <ac:spMkLst>
            <pc:docMk/>
            <pc:sldMk cId="2923837414" sldId="513"/>
            <ac:spMk id="2" creationId="{BE2F18A5-78AE-405E-A20F-1654BB71EEC0}"/>
          </ac:spMkLst>
        </pc:spChg>
        <pc:spChg chg="mod">
          <ac:chgData name="Thomas Stensitzki" userId="75cafe6b-2f2a-469b-85c4-eec3b9c972ba" providerId="ADAL" clId="{13A7DD84-EBC7-44DF-A4B8-478E332BAF16}" dt="2021-08-12T08:25:12.450" v="1635" actId="255"/>
          <ac:spMkLst>
            <pc:docMk/>
            <pc:sldMk cId="2923837414" sldId="513"/>
            <ac:spMk id="3" creationId="{0EF91AAF-22C9-467A-BB36-B9178FCA5D28}"/>
          </ac:spMkLst>
        </pc:spChg>
        <pc:picChg chg="add mod">
          <ac:chgData name="Thomas Stensitzki" userId="75cafe6b-2f2a-469b-85c4-eec3b9c972ba" providerId="ADAL" clId="{13A7DD84-EBC7-44DF-A4B8-478E332BAF16}" dt="2021-08-12T08:23:34.516" v="1619" actId="1440"/>
          <ac:picMkLst>
            <pc:docMk/>
            <pc:sldMk cId="2923837414" sldId="513"/>
            <ac:picMk id="5" creationId="{4E13512F-C714-449D-B13D-17EE7BDEB782}"/>
          </ac:picMkLst>
        </pc:picChg>
      </pc:sldChg>
    </pc:docChg>
  </pc:docChgLst>
  <pc:docChgLst>
    <pc:chgData name="Thomas Stensitzki" userId="75cafe6b-2f2a-469b-85c4-eec3b9c972ba" providerId="ADAL" clId="{81A95A3F-591B-4915-9F30-386F1902D115}"/>
    <pc:docChg chg="undo custSel addSld delSld modSld sldOrd addSection modSection">
      <pc:chgData name="Thomas Stensitzki" userId="75cafe6b-2f2a-469b-85c4-eec3b9c972ba" providerId="ADAL" clId="{81A95A3F-591B-4915-9F30-386F1902D115}" dt="2022-06-08T12:07:08.400" v="1302"/>
      <pc:docMkLst>
        <pc:docMk/>
      </pc:docMkLst>
      <pc:sldChg chg="modSp mod">
        <pc:chgData name="Thomas Stensitzki" userId="75cafe6b-2f2a-469b-85c4-eec3b9c972ba" providerId="ADAL" clId="{81A95A3F-591B-4915-9F30-386F1902D115}" dt="2022-06-03T06:50:50.178" v="12" actId="20577"/>
        <pc:sldMkLst>
          <pc:docMk/>
          <pc:sldMk cId="671489701" sldId="256"/>
        </pc:sldMkLst>
        <pc:spChg chg="mod">
          <ac:chgData name="Thomas Stensitzki" userId="75cafe6b-2f2a-469b-85c4-eec3b9c972ba" providerId="ADAL" clId="{81A95A3F-591B-4915-9F30-386F1902D115}" dt="2022-06-03T06:50:50.178" v="12" actId="20577"/>
          <ac:spMkLst>
            <pc:docMk/>
            <pc:sldMk cId="671489701" sldId="256"/>
            <ac:spMk id="3" creationId="{CBA95633-B02D-4A15-A8B1-A38E0A70FD27}"/>
          </ac:spMkLst>
        </pc:spChg>
      </pc:sldChg>
      <pc:sldChg chg="addSp delSp modSp mod">
        <pc:chgData name="Thomas Stensitzki" userId="75cafe6b-2f2a-469b-85c4-eec3b9c972ba" providerId="ADAL" clId="{81A95A3F-591B-4915-9F30-386F1902D115}" dt="2022-06-08T11:52:17.145" v="936" actId="6549"/>
        <pc:sldMkLst>
          <pc:docMk/>
          <pc:sldMk cId="2855324227" sldId="257"/>
        </pc:sldMkLst>
        <pc:graphicFrameChg chg="add del mod">
          <ac:chgData name="Thomas Stensitzki" userId="75cafe6b-2f2a-469b-85c4-eec3b9c972ba" providerId="ADAL" clId="{81A95A3F-591B-4915-9F30-386F1902D115}" dt="2022-06-03T06:51:52.448" v="15"/>
          <ac:graphicFrameMkLst>
            <pc:docMk/>
            <pc:sldMk cId="2855324227" sldId="257"/>
            <ac:graphicFrameMk id="3" creationId="{0FDE41B6-4C83-4347-8B81-DD50390DD070}"/>
          </ac:graphicFrameMkLst>
        </pc:graphicFrameChg>
        <pc:graphicFrameChg chg="mod modGraphic">
          <ac:chgData name="Thomas Stensitzki" userId="75cafe6b-2f2a-469b-85c4-eec3b9c972ba" providerId="ADAL" clId="{81A95A3F-591B-4915-9F30-386F1902D115}" dt="2022-06-08T11:52:17.145" v="936" actId="6549"/>
          <ac:graphicFrameMkLst>
            <pc:docMk/>
            <pc:sldMk cId="2855324227" sldId="257"/>
            <ac:graphicFrameMk id="6" creationId="{0F955DCC-462D-431D-BBDE-26F10687D590}"/>
          </ac:graphicFrameMkLst>
        </pc:graphicFrameChg>
      </pc:sldChg>
      <pc:sldChg chg="modSp mod">
        <pc:chgData name="Thomas Stensitzki" userId="75cafe6b-2f2a-469b-85c4-eec3b9c972ba" providerId="ADAL" clId="{81A95A3F-591B-4915-9F30-386F1902D115}" dt="2022-06-03T06:56:53.959" v="92" actId="20577"/>
        <pc:sldMkLst>
          <pc:docMk/>
          <pc:sldMk cId="3332792154" sldId="258"/>
        </pc:sldMkLst>
        <pc:spChg chg="mod">
          <ac:chgData name="Thomas Stensitzki" userId="75cafe6b-2f2a-469b-85c4-eec3b9c972ba" providerId="ADAL" clId="{81A95A3F-591B-4915-9F30-386F1902D115}" dt="2022-06-03T06:56:53.959" v="92" actId="20577"/>
          <ac:spMkLst>
            <pc:docMk/>
            <pc:sldMk cId="3332792154" sldId="258"/>
            <ac:spMk id="3" creationId="{3A5A44EB-7FB9-473A-8ED3-C49DDD2E65AB}"/>
          </ac:spMkLst>
        </pc:spChg>
      </pc:sldChg>
      <pc:sldChg chg="modSp mod">
        <pc:chgData name="Thomas Stensitzki" userId="75cafe6b-2f2a-469b-85c4-eec3b9c972ba" providerId="ADAL" clId="{81A95A3F-591B-4915-9F30-386F1902D115}" dt="2022-06-03T06:55:37.696" v="42" actId="20577"/>
        <pc:sldMkLst>
          <pc:docMk/>
          <pc:sldMk cId="2698998357" sldId="260"/>
        </pc:sldMkLst>
        <pc:spChg chg="mod">
          <ac:chgData name="Thomas Stensitzki" userId="75cafe6b-2f2a-469b-85c4-eec3b9c972ba" providerId="ADAL" clId="{81A95A3F-591B-4915-9F30-386F1902D115}" dt="2022-06-03T06:52:37.437" v="22"/>
          <ac:spMkLst>
            <pc:docMk/>
            <pc:sldMk cId="2698998357" sldId="260"/>
            <ac:spMk id="4" creationId="{F3A15CBD-C746-44A3-A4F0-4898CE2F02E6}"/>
          </ac:spMkLst>
        </pc:spChg>
        <pc:spChg chg="mod">
          <ac:chgData name="Thomas Stensitzki" userId="75cafe6b-2f2a-469b-85c4-eec3b9c972ba" providerId="ADAL" clId="{81A95A3F-591B-4915-9F30-386F1902D115}" dt="2022-06-03T06:55:37.696" v="42" actId="20577"/>
          <ac:spMkLst>
            <pc:docMk/>
            <pc:sldMk cId="2698998357" sldId="260"/>
            <ac:spMk id="5" creationId="{F3459BE7-1731-4733-A912-12977C68CFD6}"/>
          </ac:spMkLst>
        </pc:spChg>
      </pc:sldChg>
      <pc:sldChg chg="modSp add mod">
        <pc:chgData name="Thomas Stensitzki" userId="75cafe6b-2f2a-469b-85c4-eec3b9c972ba" providerId="ADAL" clId="{81A95A3F-591B-4915-9F30-386F1902D115}" dt="2022-06-03T08:07:25.694" v="98" actId="6549"/>
        <pc:sldMkLst>
          <pc:docMk/>
          <pc:sldMk cId="4007670073" sldId="268"/>
        </pc:sldMkLst>
        <pc:spChg chg="mod">
          <ac:chgData name="Thomas Stensitzki" userId="75cafe6b-2f2a-469b-85c4-eec3b9c972ba" providerId="ADAL" clId="{81A95A3F-591B-4915-9F30-386F1902D115}" dt="2022-06-03T08:07:25.694" v="98" actId="6549"/>
          <ac:spMkLst>
            <pc:docMk/>
            <pc:sldMk cId="4007670073" sldId="268"/>
            <ac:spMk id="5" creationId="{F3459BE7-1731-4733-A912-12977C68CFD6}"/>
          </ac:spMkLst>
        </pc:spChg>
      </pc:sldChg>
      <pc:sldChg chg="modSp mod modShow">
        <pc:chgData name="Thomas Stensitzki" userId="75cafe6b-2f2a-469b-85c4-eec3b9c972ba" providerId="ADAL" clId="{81A95A3F-591B-4915-9F30-386F1902D115}" dt="2022-06-08T09:48:57.384" v="729" actId="729"/>
        <pc:sldMkLst>
          <pc:docMk/>
          <pc:sldMk cId="2721051844" sldId="269"/>
        </pc:sldMkLst>
        <pc:spChg chg="mod">
          <ac:chgData name="Thomas Stensitzki" userId="75cafe6b-2f2a-469b-85c4-eec3b9c972ba" providerId="ADAL" clId="{81A95A3F-591B-4915-9F30-386F1902D115}" dt="2022-06-08T09:48:41.339" v="728" actId="6549"/>
          <ac:spMkLst>
            <pc:docMk/>
            <pc:sldMk cId="2721051844" sldId="269"/>
            <ac:spMk id="5" creationId="{C24DACB5-1BEC-4C86-9652-BAFD8DE56FEF}"/>
          </ac:spMkLst>
        </pc:spChg>
      </pc:sldChg>
      <pc:sldChg chg="del">
        <pc:chgData name="Thomas Stensitzki" userId="75cafe6b-2f2a-469b-85c4-eec3b9c972ba" providerId="ADAL" clId="{81A95A3F-591B-4915-9F30-386F1902D115}" dt="2022-06-08T11:51:42.055" v="921" actId="2696"/>
        <pc:sldMkLst>
          <pc:docMk/>
          <pc:sldMk cId="726195275" sldId="313"/>
        </pc:sldMkLst>
      </pc:sldChg>
      <pc:sldChg chg="modSp add mod">
        <pc:chgData name="Thomas Stensitzki" userId="75cafe6b-2f2a-469b-85c4-eec3b9c972ba" providerId="ADAL" clId="{81A95A3F-591B-4915-9F30-386F1902D115}" dt="2022-06-08T11:52:31.527" v="938" actId="14100"/>
        <pc:sldMkLst>
          <pc:docMk/>
          <pc:sldMk cId="2227487991" sldId="378"/>
        </pc:sldMkLst>
        <pc:spChg chg="mod">
          <ac:chgData name="Thomas Stensitzki" userId="75cafe6b-2f2a-469b-85c4-eec3b9c972ba" providerId="ADAL" clId="{81A95A3F-591B-4915-9F30-386F1902D115}" dt="2022-06-08T11:52:31.527" v="938" actId="14100"/>
          <ac:spMkLst>
            <pc:docMk/>
            <pc:sldMk cId="2227487991" sldId="378"/>
            <ac:spMk id="2" creationId="{909DC09D-B9A6-4493-9A72-1CA7ECB1F5CA}"/>
          </ac:spMkLst>
        </pc:spChg>
        <pc:spChg chg="mod">
          <ac:chgData name="Thomas Stensitzki" userId="75cafe6b-2f2a-469b-85c4-eec3b9c972ba" providerId="ADAL" clId="{81A95A3F-591B-4915-9F30-386F1902D115}" dt="2022-06-03T11:39:31.534" v="230"/>
          <ac:spMkLst>
            <pc:docMk/>
            <pc:sldMk cId="2227487991" sldId="378"/>
            <ac:spMk id="5" creationId="{C24DACB5-1BEC-4C86-9652-BAFD8DE56FEF}"/>
          </ac:spMkLst>
        </pc:spChg>
      </pc:sldChg>
      <pc:sldChg chg="modSp add mod">
        <pc:chgData name="Thomas Stensitzki" userId="75cafe6b-2f2a-469b-85c4-eec3b9c972ba" providerId="ADAL" clId="{81A95A3F-591B-4915-9F30-386F1902D115}" dt="2022-06-08T12:01:00.068" v="1223" actId="14100"/>
        <pc:sldMkLst>
          <pc:docMk/>
          <pc:sldMk cId="3797754622" sldId="515"/>
        </pc:sldMkLst>
        <pc:spChg chg="mod">
          <ac:chgData name="Thomas Stensitzki" userId="75cafe6b-2f2a-469b-85c4-eec3b9c972ba" providerId="ADAL" clId="{81A95A3F-591B-4915-9F30-386F1902D115}" dt="2022-06-08T12:01:00.068" v="1223" actId="14100"/>
          <ac:spMkLst>
            <pc:docMk/>
            <pc:sldMk cId="3797754622" sldId="515"/>
            <ac:spMk id="2" creationId="{909DC09D-B9A6-4493-9A72-1CA7ECB1F5CA}"/>
          </ac:spMkLst>
        </pc:spChg>
        <pc:spChg chg="mod">
          <ac:chgData name="Thomas Stensitzki" userId="75cafe6b-2f2a-469b-85c4-eec3b9c972ba" providerId="ADAL" clId="{81A95A3F-591B-4915-9F30-386F1902D115}" dt="2022-06-08T11:53:45.243" v="945" actId="108"/>
          <ac:spMkLst>
            <pc:docMk/>
            <pc:sldMk cId="3797754622" sldId="515"/>
            <ac:spMk id="5" creationId="{C24DACB5-1BEC-4C86-9652-BAFD8DE56FEF}"/>
          </ac:spMkLst>
        </pc:spChg>
      </pc:sldChg>
      <pc:sldChg chg="modSp mod modShow">
        <pc:chgData name="Thomas Stensitzki" userId="75cafe6b-2f2a-469b-85c4-eec3b9c972ba" providerId="ADAL" clId="{81A95A3F-591B-4915-9F30-386F1902D115}" dt="2022-06-08T09:55:01.520" v="920" actId="6549"/>
        <pc:sldMkLst>
          <pc:docMk/>
          <pc:sldMk cId="2791634409" sldId="560"/>
        </pc:sldMkLst>
        <pc:spChg chg="mod">
          <ac:chgData name="Thomas Stensitzki" userId="75cafe6b-2f2a-469b-85c4-eec3b9c972ba" providerId="ADAL" clId="{81A95A3F-591B-4915-9F30-386F1902D115}" dt="2022-06-08T09:55:01.520" v="920" actId="6549"/>
          <ac:spMkLst>
            <pc:docMk/>
            <pc:sldMk cId="2791634409" sldId="560"/>
            <ac:spMk id="5" creationId="{E4B561B6-C0CF-43D8-8BC7-F305B96C47C8}"/>
          </ac:spMkLst>
        </pc:spChg>
      </pc:sldChg>
      <pc:sldChg chg="modSp mod">
        <pc:chgData name="Thomas Stensitzki" userId="75cafe6b-2f2a-469b-85c4-eec3b9c972ba" providerId="ADAL" clId="{81A95A3F-591B-4915-9F30-386F1902D115}" dt="2022-06-08T09:54:34.169" v="918" actId="2165"/>
        <pc:sldMkLst>
          <pc:docMk/>
          <pc:sldMk cId="1728515471" sldId="561"/>
        </pc:sldMkLst>
        <pc:graphicFrameChg chg="modGraphic">
          <ac:chgData name="Thomas Stensitzki" userId="75cafe6b-2f2a-469b-85c4-eec3b9c972ba" providerId="ADAL" clId="{81A95A3F-591B-4915-9F30-386F1902D115}" dt="2022-06-08T09:54:34.169" v="918" actId="2165"/>
          <ac:graphicFrameMkLst>
            <pc:docMk/>
            <pc:sldMk cId="1728515471" sldId="561"/>
            <ac:graphicFrameMk id="4" creationId="{55EDB790-67BC-42E5-B64A-5647620B8383}"/>
          </ac:graphicFrameMkLst>
        </pc:graphicFrameChg>
      </pc:sldChg>
      <pc:sldChg chg="addSp delSp modSp add mod modAnim">
        <pc:chgData name="Thomas Stensitzki" userId="75cafe6b-2f2a-469b-85c4-eec3b9c972ba" providerId="ADAL" clId="{81A95A3F-591B-4915-9F30-386F1902D115}" dt="2022-06-08T12:06:23.419" v="1287"/>
        <pc:sldMkLst>
          <pc:docMk/>
          <pc:sldMk cId="4104137776" sldId="567"/>
        </pc:sldMkLst>
        <pc:spChg chg="mod">
          <ac:chgData name="Thomas Stensitzki" userId="75cafe6b-2f2a-469b-85c4-eec3b9c972ba" providerId="ADAL" clId="{81A95A3F-591B-4915-9F30-386F1902D115}" dt="2022-06-08T09:28:51.060" v="508" actId="20577"/>
          <ac:spMkLst>
            <pc:docMk/>
            <pc:sldMk cId="4104137776" sldId="567"/>
            <ac:spMk id="2" creationId="{EC46AD28-746E-4246-884F-4DAE24C62042}"/>
          </ac:spMkLst>
        </pc:spChg>
        <pc:spChg chg="del">
          <ac:chgData name="Thomas Stensitzki" userId="75cafe6b-2f2a-469b-85c4-eec3b9c972ba" providerId="ADAL" clId="{81A95A3F-591B-4915-9F30-386F1902D115}" dt="2022-06-08T09:27:38.782" v="489" actId="478"/>
          <ac:spMkLst>
            <pc:docMk/>
            <pc:sldMk cId="4104137776" sldId="567"/>
            <ac:spMk id="3" creationId="{4B4B1B02-433C-4551-A25C-9193BE90D3D9}"/>
          </ac:spMkLst>
        </pc:spChg>
        <pc:spChg chg="add del mod">
          <ac:chgData name="Thomas Stensitzki" userId="75cafe6b-2f2a-469b-85c4-eec3b9c972ba" providerId="ADAL" clId="{81A95A3F-591B-4915-9F30-386F1902D115}" dt="2022-06-08T09:27:40.389" v="490" actId="478"/>
          <ac:spMkLst>
            <pc:docMk/>
            <pc:sldMk cId="4104137776" sldId="567"/>
            <ac:spMk id="5" creationId="{48C297EC-2B9E-4333-A9F4-8BF60106481A}"/>
          </ac:spMkLst>
        </pc:spChg>
        <pc:picChg chg="add mod">
          <ac:chgData name="Thomas Stensitzki" userId="75cafe6b-2f2a-469b-85c4-eec3b9c972ba" providerId="ADAL" clId="{81A95A3F-591B-4915-9F30-386F1902D115}" dt="2022-06-08T09:27:57.597" v="494" actId="1440"/>
          <ac:picMkLst>
            <pc:docMk/>
            <pc:sldMk cId="4104137776" sldId="567"/>
            <ac:picMk id="6146" creationId="{BEB228D0-D6CB-482E-981C-8BBE1B427912}"/>
          </ac:picMkLst>
        </pc:picChg>
        <pc:picChg chg="add mod">
          <ac:chgData name="Thomas Stensitzki" userId="75cafe6b-2f2a-469b-85c4-eec3b9c972ba" providerId="ADAL" clId="{81A95A3F-591B-4915-9F30-386F1902D115}" dt="2022-06-08T09:28:28.791" v="500" actId="1440"/>
          <ac:picMkLst>
            <pc:docMk/>
            <pc:sldMk cId="4104137776" sldId="567"/>
            <ac:picMk id="6148" creationId="{C73D027B-CA10-4632-9BCD-2A04C1CA1660}"/>
          </ac:picMkLst>
        </pc:picChg>
      </pc:sldChg>
      <pc:sldChg chg="addSp delSp modSp add mod">
        <pc:chgData name="Thomas Stensitzki" userId="75cafe6b-2f2a-469b-85c4-eec3b9c972ba" providerId="ADAL" clId="{81A95A3F-591B-4915-9F30-386F1902D115}" dt="2022-06-03T11:30:37.006" v="156" actId="1440"/>
        <pc:sldMkLst>
          <pc:docMk/>
          <pc:sldMk cId="2374589673" sldId="568"/>
        </pc:sldMkLst>
        <pc:spChg chg="mod">
          <ac:chgData name="Thomas Stensitzki" userId="75cafe6b-2f2a-469b-85c4-eec3b9c972ba" providerId="ADAL" clId="{81A95A3F-591B-4915-9F30-386F1902D115}" dt="2022-06-03T11:29:35.772" v="144"/>
          <ac:spMkLst>
            <pc:docMk/>
            <pc:sldMk cId="2374589673" sldId="568"/>
            <ac:spMk id="2" creationId="{6A814F1C-A68B-4C48-BFC7-E0C8475DD978}"/>
          </ac:spMkLst>
        </pc:spChg>
        <pc:spChg chg="del">
          <ac:chgData name="Thomas Stensitzki" userId="75cafe6b-2f2a-469b-85c4-eec3b9c972ba" providerId="ADAL" clId="{81A95A3F-591B-4915-9F30-386F1902D115}" dt="2022-06-03T11:29:51.567" v="147" actId="478"/>
          <ac:spMkLst>
            <pc:docMk/>
            <pc:sldMk cId="2374589673" sldId="568"/>
            <ac:spMk id="3" creationId="{4FF3BEF0-B65A-4D8F-9E68-52DE5DDDED8D}"/>
          </ac:spMkLst>
        </pc:spChg>
        <pc:spChg chg="add del mod">
          <ac:chgData name="Thomas Stensitzki" userId="75cafe6b-2f2a-469b-85c4-eec3b9c972ba" providerId="ADAL" clId="{81A95A3F-591B-4915-9F30-386F1902D115}" dt="2022-06-03T11:29:55.779" v="148" actId="478"/>
          <ac:spMkLst>
            <pc:docMk/>
            <pc:sldMk cId="2374589673" sldId="568"/>
            <ac:spMk id="5" creationId="{F79B5E16-C6BF-4590-87B9-58851FA321EE}"/>
          </ac:spMkLst>
        </pc:spChg>
        <pc:spChg chg="add del">
          <ac:chgData name="Thomas Stensitzki" userId="75cafe6b-2f2a-469b-85c4-eec3b9c972ba" providerId="ADAL" clId="{81A95A3F-591B-4915-9F30-386F1902D115}" dt="2022-06-03T11:30:06.252" v="150" actId="22"/>
          <ac:spMkLst>
            <pc:docMk/>
            <pc:sldMk cId="2374589673" sldId="568"/>
            <ac:spMk id="7" creationId="{0651B3DC-AA07-49A2-927C-68EFF9647093}"/>
          </ac:spMkLst>
        </pc:spChg>
        <pc:spChg chg="add del">
          <ac:chgData name="Thomas Stensitzki" userId="75cafe6b-2f2a-469b-85c4-eec3b9c972ba" providerId="ADAL" clId="{81A95A3F-591B-4915-9F30-386F1902D115}" dt="2022-06-03T11:30:08.929" v="152" actId="22"/>
          <ac:spMkLst>
            <pc:docMk/>
            <pc:sldMk cId="2374589673" sldId="568"/>
            <ac:spMk id="9" creationId="{9610EA3F-6549-43B0-B568-48C5F46C30EC}"/>
          </ac:spMkLst>
        </pc:spChg>
        <pc:picChg chg="add mod">
          <ac:chgData name="Thomas Stensitzki" userId="75cafe6b-2f2a-469b-85c4-eec3b9c972ba" providerId="ADAL" clId="{81A95A3F-591B-4915-9F30-386F1902D115}" dt="2022-06-03T11:30:37.006" v="156" actId="1440"/>
          <ac:picMkLst>
            <pc:docMk/>
            <pc:sldMk cId="2374589673" sldId="568"/>
            <ac:picMk id="1026" creationId="{6FE7E3D1-09D6-45A9-838F-43916C75E2D9}"/>
          </ac:picMkLst>
        </pc:picChg>
      </pc:sldChg>
      <pc:sldChg chg="del">
        <pc:chgData name="Thomas Stensitzki" userId="75cafe6b-2f2a-469b-85c4-eec3b9c972ba" providerId="ADAL" clId="{81A95A3F-591B-4915-9F30-386F1902D115}" dt="2022-06-03T06:55:47.692" v="43" actId="47"/>
        <pc:sldMkLst>
          <pc:docMk/>
          <pc:sldMk cId="2363331893" sldId="591"/>
        </pc:sldMkLst>
      </pc:sldChg>
      <pc:sldChg chg="del">
        <pc:chgData name="Thomas Stensitzki" userId="75cafe6b-2f2a-469b-85c4-eec3b9c972ba" providerId="ADAL" clId="{81A95A3F-591B-4915-9F30-386F1902D115}" dt="2022-06-03T06:55:47.692" v="43" actId="47"/>
        <pc:sldMkLst>
          <pc:docMk/>
          <pc:sldMk cId="3853557247" sldId="592"/>
        </pc:sldMkLst>
      </pc:sldChg>
      <pc:sldChg chg="del">
        <pc:chgData name="Thomas Stensitzki" userId="75cafe6b-2f2a-469b-85c4-eec3b9c972ba" providerId="ADAL" clId="{81A95A3F-591B-4915-9F30-386F1902D115}" dt="2022-06-03T06:55:47.692" v="43" actId="47"/>
        <pc:sldMkLst>
          <pc:docMk/>
          <pc:sldMk cId="2298534792" sldId="593"/>
        </pc:sldMkLst>
      </pc:sldChg>
      <pc:sldChg chg="del">
        <pc:chgData name="Thomas Stensitzki" userId="75cafe6b-2f2a-469b-85c4-eec3b9c972ba" providerId="ADAL" clId="{81A95A3F-591B-4915-9F30-386F1902D115}" dt="2022-06-03T06:55:47.692" v="43" actId="47"/>
        <pc:sldMkLst>
          <pc:docMk/>
          <pc:sldMk cId="166762484" sldId="594"/>
        </pc:sldMkLst>
      </pc:sldChg>
      <pc:sldChg chg="del">
        <pc:chgData name="Thomas Stensitzki" userId="75cafe6b-2f2a-469b-85c4-eec3b9c972ba" providerId="ADAL" clId="{81A95A3F-591B-4915-9F30-386F1902D115}" dt="2022-06-03T06:55:47.692" v="43" actId="47"/>
        <pc:sldMkLst>
          <pc:docMk/>
          <pc:sldMk cId="2680249750" sldId="595"/>
        </pc:sldMkLst>
      </pc:sldChg>
      <pc:sldChg chg="del">
        <pc:chgData name="Thomas Stensitzki" userId="75cafe6b-2f2a-469b-85c4-eec3b9c972ba" providerId="ADAL" clId="{81A95A3F-591B-4915-9F30-386F1902D115}" dt="2022-06-03T06:55:47.692" v="43" actId="47"/>
        <pc:sldMkLst>
          <pc:docMk/>
          <pc:sldMk cId="1109434383" sldId="596"/>
        </pc:sldMkLst>
      </pc:sldChg>
      <pc:sldChg chg="del">
        <pc:chgData name="Thomas Stensitzki" userId="75cafe6b-2f2a-469b-85c4-eec3b9c972ba" providerId="ADAL" clId="{81A95A3F-591B-4915-9F30-386F1902D115}" dt="2022-06-03T06:55:47.692" v="43" actId="47"/>
        <pc:sldMkLst>
          <pc:docMk/>
          <pc:sldMk cId="2098288780" sldId="597"/>
        </pc:sldMkLst>
      </pc:sldChg>
      <pc:sldChg chg="del">
        <pc:chgData name="Thomas Stensitzki" userId="75cafe6b-2f2a-469b-85c4-eec3b9c972ba" providerId="ADAL" clId="{81A95A3F-591B-4915-9F30-386F1902D115}" dt="2022-06-03T06:55:47.692" v="43" actId="47"/>
        <pc:sldMkLst>
          <pc:docMk/>
          <pc:sldMk cId="2122712351" sldId="598"/>
        </pc:sldMkLst>
      </pc:sldChg>
      <pc:sldChg chg="del">
        <pc:chgData name="Thomas Stensitzki" userId="75cafe6b-2f2a-469b-85c4-eec3b9c972ba" providerId="ADAL" clId="{81A95A3F-591B-4915-9F30-386F1902D115}" dt="2022-06-03T06:55:47.692" v="43" actId="47"/>
        <pc:sldMkLst>
          <pc:docMk/>
          <pc:sldMk cId="1914820320" sldId="599"/>
        </pc:sldMkLst>
      </pc:sldChg>
      <pc:sldChg chg="del">
        <pc:chgData name="Thomas Stensitzki" userId="75cafe6b-2f2a-469b-85c4-eec3b9c972ba" providerId="ADAL" clId="{81A95A3F-591B-4915-9F30-386F1902D115}" dt="2022-06-03T06:55:47.692" v="43" actId="47"/>
        <pc:sldMkLst>
          <pc:docMk/>
          <pc:sldMk cId="3219683340" sldId="600"/>
        </pc:sldMkLst>
      </pc:sldChg>
      <pc:sldChg chg="del">
        <pc:chgData name="Thomas Stensitzki" userId="75cafe6b-2f2a-469b-85c4-eec3b9c972ba" providerId="ADAL" clId="{81A95A3F-591B-4915-9F30-386F1902D115}" dt="2022-06-03T06:55:47.692" v="43" actId="47"/>
        <pc:sldMkLst>
          <pc:docMk/>
          <pc:sldMk cId="1699378225" sldId="601"/>
        </pc:sldMkLst>
      </pc:sldChg>
      <pc:sldChg chg="del">
        <pc:chgData name="Thomas Stensitzki" userId="75cafe6b-2f2a-469b-85c4-eec3b9c972ba" providerId="ADAL" clId="{81A95A3F-591B-4915-9F30-386F1902D115}" dt="2022-06-03T06:55:47.692" v="43" actId="47"/>
        <pc:sldMkLst>
          <pc:docMk/>
          <pc:sldMk cId="131291966" sldId="602"/>
        </pc:sldMkLst>
      </pc:sldChg>
      <pc:sldChg chg="del">
        <pc:chgData name="Thomas Stensitzki" userId="75cafe6b-2f2a-469b-85c4-eec3b9c972ba" providerId="ADAL" clId="{81A95A3F-591B-4915-9F30-386F1902D115}" dt="2022-06-03T06:55:47.692" v="43" actId="47"/>
        <pc:sldMkLst>
          <pc:docMk/>
          <pc:sldMk cId="3760544869" sldId="603"/>
        </pc:sldMkLst>
      </pc:sldChg>
      <pc:sldChg chg="del">
        <pc:chgData name="Thomas Stensitzki" userId="75cafe6b-2f2a-469b-85c4-eec3b9c972ba" providerId="ADAL" clId="{81A95A3F-591B-4915-9F30-386F1902D115}" dt="2022-06-03T06:55:47.692" v="43" actId="47"/>
        <pc:sldMkLst>
          <pc:docMk/>
          <pc:sldMk cId="4098706796" sldId="604"/>
        </pc:sldMkLst>
      </pc:sldChg>
      <pc:sldChg chg="del">
        <pc:chgData name="Thomas Stensitzki" userId="75cafe6b-2f2a-469b-85c4-eec3b9c972ba" providerId="ADAL" clId="{81A95A3F-591B-4915-9F30-386F1902D115}" dt="2022-06-03T06:55:47.692" v="43" actId="47"/>
        <pc:sldMkLst>
          <pc:docMk/>
          <pc:sldMk cId="4145245121" sldId="605"/>
        </pc:sldMkLst>
      </pc:sldChg>
      <pc:sldChg chg="modSp mod ord modShow">
        <pc:chgData name="Thomas Stensitzki" userId="75cafe6b-2f2a-469b-85c4-eec3b9c972ba" providerId="ADAL" clId="{81A95A3F-591B-4915-9F30-386F1902D115}" dt="2022-06-03T08:08:13.814" v="102" actId="729"/>
        <pc:sldMkLst>
          <pc:docMk/>
          <pc:sldMk cId="1856989855" sldId="606"/>
        </pc:sldMkLst>
        <pc:spChg chg="mod">
          <ac:chgData name="Thomas Stensitzki" userId="75cafe6b-2f2a-469b-85c4-eec3b9c972ba" providerId="ADAL" clId="{81A95A3F-591B-4915-9F30-386F1902D115}" dt="2022-06-03T06:56:00.809" v="49" actId="20577"/>
          <ac:spMkLst>
            <pc:docMk/>
            <pc:sldMk cId="1856989855" sldId="606"/>
            <ac:spMk id="4" creationId="{F3A15CBD-C746-44A3-A4F0-4898CE2F02E6}"/>
          </ac:spMkLst>
        </pc:spChg>
        <pc:spChg chg="mod">
          <ac:chgData name="Thomas Stensitzki" userId="75cafe6b-2f2a-469b-85c4-eec3b9c972ba" providerId="ADAL" clId="{81A95A3F-591B-4915-9F30-386F1902D115}" dt="2022-06-03T06:56:08.400" v="58" actId="20577"/>
          <ac:spMkLst>
            <pc:docMk/>
            <pc:sldMk cId="1856989855" sldId="606"/>
            <ac:spMk id="5" creationId="{F3459BE7-1731-4733-A912-12977C68CFD6}"/>
          </ac:spMkLst>
        </pc:spChg>
      </pc:sldChg>
      <pc:sldChg chg="delSp new mod setBg modClrScheme chgLayout">
        <pc:chgData name="Thomas Stensitzki" userId="75cafe6b-2f2a-469b-85c4-eec3b9c972ba" providerId="ADAL" clId="{81A95A3F-591B-4915-9F30-386F1902D115}" dt="2022-06-03T08:08:51.541" v="105"/>
        <pc:sldMkLst>
          <pc:docMk/>
          <pc:sldMk cId="1051205786" sldId="607"/>
        </pc:sldMkLst>
        <pc:spChg chg="del">
          <ac:chgData name="Thomas Stensitzki" userId="75cafe6b-2f2a-469b-85c4-eec3b9c972ba" providerId="ADAL" clId="{81A95A3F-591B-4915-9F30-386F1902D115}" dt="2022-06-03T08:08:34.030" v="104" actId="700"/>
          <ac:spMkLst>
            <pc:docMk/>
            <pc:sldMk cId="1051205786" sldId="607"/>
            <ac:spMk id="2" creationId="{D0285D58-6AFE-42DB-9946-597F2E228E08}"/>
          </ac:spMkLst>
        </pc:spChg>
        <pc:spChg chg="del">
          <ac:chgData name="Thomas Stensitzki" userId="75cafe6b-2f2a-469b-85c4-eec3b9c972ba" providerId="ADAL" clId="{81A95A3F-591B-4915-9F30-386F1902D115}" dt="2022-06-03T08:08:34.030" v="104" actId="700"/>
          <ac:spMkLst>
            <pc:docMk/>
            <pc:sldMk cId="1051205786" sldId="607"/>
            <ac:spMk id="3" creationId="{6F2033C4-8B31-4F8B-A36D-3EEAB5A9E84B}"/>
          </ac:spMkLst>
        </pc:spChg>
      </pc:sldChg>
      <pc:sldChg chg="del">
        <pc:chgData name="Thomas Stensitzki" userId="75cafe6b-2f2a-469b-85c4-eec3b9c972ba" providerId="ADAL" clId="{81A95A3F-591B-4915-9F30-386F1902D115}" dt="2022-06-03T06:55:47.692" v="43" actId="47"/>
        <pc:sldMkLst>
          <pc:docMk/>
          <pc:sldMk cId="2410402961" sldId="607"/>
        </pc:sldMkLst>
      </pc:sldChg>
      <pc:sldChg chg="addSp modSp add mod modClrScheme chgLayout">
        <pc:chgData name="Thomas Stensitzki" userId="75cafe6b-2f2a-469b-85c4-eec3b9c972ba" providerId="ADAL" clId="{81A95A3F-591B-4915-9F30-386F1902D115}" dt="2022-06-03T11:37:24.781" v="223" actId="113"/>
        <pc:sldMkLst>
          <pc:docMk/>
          <pc:sldMk cId="1133784921" sldId="608"/>
        </pc:sldMkLst>
        <pc:spChg chg="mod ord">
          <ac:chgData name="Thomas Stensitzki" userId="75cafe6b-2f2a-469b-85c4-eec3b9c972ba" providerId="ADAL" clId="{81A95A3F-591B-4915-9F30-386F1902D115}" dt="2022-06-03T11:37:03.975" v="218" actId="700"/>
          <ac:spMkLst>
            <pc:docMk/>
            <pc:sldMk cId="1133784921" sldId="608"/>
            <ac:spMk id="2" creationId="{6A814F1C-A68B-4C48-BFC7-E0C8475DD978}"/>
          </ac:spMkLst>
        </pc:spChg>
        <pc:spChg chg="mod ord">
          <ac:chgData name="Thomas Stensitzki" userId="75cafe6b-2f2a-469b-85c4-eec3b9c972ba" providerId="ADAL" clId="{81A95A3F-591B-4915-9F30-386F1902D115}" dt="2022-06-03T11:37:22.597" v="222" actId="113"/>
          <ac:spMkLst>
            <pc:docMk/>
            <pc:sldMk cId="1133784921" sldId="608"/>
            <ac:spMk id="3" creationId="{4FF3BEF0-B65A-4D8F-9E68-52DE5DDDED8D}"/>
          </ac:spMkLst>
        </pc:spChg>
        <pc:spChg chg="add mod ord">
          <ac:chgData name="Thomas Stensitzki" userId="75cafe6b-2f2a-469b-85c4-eec3b9c972ba" providerId="ADAL" clId="{81A95A3F-591B-4915-9F30-386F1902D115}" dt="2022-06-03T11:37:24.781" v="223" actId="113"/>
          <ac:spMkLst>
            <pc:docMk/>
            <pc:sldMk cId="1133784921" sldId="608"/>
            <ac:spMk id="4" creationId="{A0750C0A-B9C2-4DE9-942B-7701A11CD55C}"/>
          </ac:spMkLst>
        </pc:spChg>
      </pc:sldChg>
      <pc:sldChg chg="addSp delSp modSp new mod modNotesTx">
        <pc:chgData name="Thomas Stensitzki" userId="75cafe6b-2f2a-469b-85c4-eec3b9c972ba" providerId="ADAL" clId="{81A95A3F-591B-4915-9F30-386F1902D115}" dt="2022-06-03T11:32:23.977" v="168" actId="20577"/>
        <pc:sldMkLst>
          <pc:docMk/>
          <pc:sldMk cId="194201490" sldId="609"/>
        </pc:sldMkLst>
        <pc:spChg chg="mod">
          <ac:chgData name="Thomas Stensitzki" userId="75cafe6b-2f2a-469b-85c4-eec3b9c972ba" providerId="ADAL" clId="{81A95A3F-591B-4915-9F30-386F1902D115}" dt="2022-06-03T11:31:27.442" v="160"/>
          <ac:spMkLst>
            <pc:docMk/>
            <pc:sldMk cId="194201490" sldId="609"/>
            <ac:spMk id="2" creationId="{693BA138-EC57-4528-958B-434CE6DBB9CF}"/>
          </ac:spMkLst>
        </pc:spChg>
        <pc:picChg chg="add del">
          <ac:chgData name="Thomas Stensitzki" userId="75cafe6b-2f2a-469b-85c4-eec3b9c972ba" providerId="ADAL" clId="{81A95A3F-591B-4915-9F30-386F1902D115}" dt="2022-06-03T11:31:20.411" v="159"/>
          <ac:picMkLst>
            <pc:docMk/>
            <pc:sldMk cId="194201490" sldId="609"/>
            <ac:picMk id="2050" creationId="{14099719-B5ED-4364-AF7D-AE44FF30492B}"/>
          </ac:picMkLst>
        </pc:picChg>
        <pc:picChg chg="add mod">
          <ac:chgData name="Thomas Stensitzki" userId="75cafe6b-2f2a-469b-85c4-eec3b9c972ba" providerId="ADAL" clId="{81A95A3F-591B-4915-9F30-386F1902D115}" dt="2022-06-03T11:32:04.488" v="166" actId="1440"/>
          <ac:picMkLst>
            <pc:docMk/>
            <pc:sldMk cId="194201490" sldId="609"/>
            <ac:picMk id="2052" creationId="{9C95C39C-F5E5-4568-9B95-B8ABA61C8713}"/>
          </ac:picMkLst>
        </pc:picChg>
      </pc:sldChg>
      <pc:sldChg chg="addSp modSp new mod modNotesTx">
        <pc:chgData name="Thomas Stensitzki" userId="75cafe6b-2f2a-469b-85c4-eec3b9c972ba" providerId="ADAL" clId="{81A95A3F-591B-4915-9F30-386F1902D115}" dt="2022-06-03T11:35:17.087" v="204"/>
        <pc:sldMkLst>
          <pc:docMk/>
          <pc:sldMk cId="467678945" sldId="610"/>
        </pc:sldMkLst>
        <pc:spChg chg="mod">
          <ac:chgData name="Thomas Stensitzki" userId="75cafe6b-2f2a-469b-85c4-eec3b9c972ba" providerId="ADAL" clId="{81A95A3F-591B-4915-9F30-386F1902D115}" dt="2022-06-03T11:33:43.464" v="196"/>
          <ac:spMkLst>
            <pc:docMk/>
            <pc:sldMk cId="467678945" sldId="610"/>
            <ac:spMk id="2" creationId="{6E86C0DC-AEFC-4349-8AFA-C52ED533BD49}"/>
          </ac:spMkLst>
        </pc:spChg>
        <pc:spChg chg="mod">
          <ac:chgData name="Thomas Stensitzki" userId="75cafe6b-2f2a-469b-85c4-eec3b9c972ba" providerId="ADAL" clId="{81A95A3F-591B-4915-9F30-386F1902D115}" dt="2022-06-03T11:35:17.087" v="204"/>
          <ac:spMkLst>
            <pc:docMk/>
            <pc:sldMk cId="467678945" sldId="610"/>
            <ac:spMk id="3" creationId="{005936FB-5894-4392-9AEF-E720A753643C}"/>
          </ac:spMkLst>
        </pc:spChg>
        <pc:picChg chg="add mod">
          <ac:chgData name="Thomas Stensitzki" userId="75cafe6b-2f2a-469b-85c4-eec3b9c972ba" providerId="ADAL" clId="{81A95A3F-591B-4915-9F30-386F1902D115}" dt="2022-06-03T11:34:10.184" v="201" actId="1076"/>
          <ac:picMkLst>
            <pc:docMk/>
            <pc:sldMk cId="467678945" sldId="610"/>
            <ac:picMk id="3074" creationId="{BB654E81-73F6-4A1A-865A-04747296D430}"/>
          </ac:picMkLst>
        </pc:picChg>
      </pc:sldChg>
      <pc:sldChg chg="addSp delSp modSp new mod modClrScheme modAnim chgLayout">
        <pc:chgData name="Thomas Stensitzki" userId="75cafe6b-2f2a-469b-85c4-eec3b9c972ba" providerId="ADAL" clId="{81A95A3F-591B-4915-9F30-386F1902D115}" dt="2022-06-08T12:02:51.906" v="1248"/>
        <pc:sldMkLst>
          <pc:docMk/>
          <pc:sldMk cId="2119466313" sldId="611"/>
        </pc:sldMkLst>
        <pc:spChg chg="del mod ord">
          <ac:chgData name="Thomas Stensitzki" userId="75cafe6b-2f2a-469b-85c4-eec3b9c972ba" providerId="ADAL" clId="{81A95A3F-591B-4915-9F30-386F1902D115}" dt="2022-06-03T11:38:26.497" v="227" actId="700"/>
          <ac:spMkLst>
            <pc:docMk/>
            <pc:sldMk cId="2119466313" sldId="611"/>
            <ac:spMk id="2" creationId="{05FB6BB9-E0CA-4663-BF2F-1BA676339161}"/>
          </ac:spMkLst>
        </pc:spChg>
        <pc:spChg chg="del">
          <ac:chgData name="Thomas Stensitzki" userId="75cafe6b-2f2a-469b-85c4-eec3b9c972ba" providerId="ADAL" clId="{81A95A3F-591B-4915-9F30-386F1902D115}" dt="2022-06-03T11:38:26.497" v="227" actId="700"/>
          <ac:spMkLst>
            <pc:docMk/>
            <pc:sldMk cId="2119466313" sldId="611"/>
            <ac:spMk id="3" creationId="{62940AA6-9BCC-4371-B675-F7573118EB0F}"/>
          </ac:spMkLst>
        </pc:spChg>
        <pc:spChg chg="del">
          <ac:chgData name="Thomas Stensitzki" userId="75cafe6b-2f2a-469b-85c4-eec3b9c972ba" providerId="ADAL" clId="{81A95A3F-591B-4915-9F30-386F1902D115}" dt="2022-06-03T11:38:26.497" v="227" actId="700"/>
          <ac:spMkLst>
            <pc:docMk/>
            <pc:sldMk cId="2119466313" sldId="611"/>
            <ac:spMk id="4" creationId="{1EBD7387-038C-41BA-BF75-5A64D82412BB}"/>
          </ac:spMkLst>
        </pc:spChg>
        <pc:spChg chg="add mod ord">
          <ac:chgData name="Thomas Stensitzki" userId="75cafe6b-2f2a-469b-85c4-eec3b9c972ba" providerId="ADAL" clId="{81A95A3F-591B-4915-9F30-386F1902D115}" dt="2022-06-08T09:15:54.911" v="275"/>
          <ac:spMkLst>
            <pc:docMk/>
            <pc:sldMk cId="2119466313" sldId="611"/>
            <ac:spMk id="5" creationId="{2B92FCBD-7127-4725-814A-DA80AEE5246E}"/>
          </ac:spMkLst>
        </pc:spChg>
        <pc:picChg chg="add mod">
          <ac:chgData name="Thomas Stensitzki" userId="75cafe6b-2f2a-469b-85c4-eec3b9c972ba" providerId="ADAL" clId="{81A95A3F-591B-4915-9F30-386F1902D115}" dt="2022-06-08T09:16:05.191" v="278" actId="1440"/>
          <ac:picMkLst>
            <pc:docMk/>
            <pc:sldMk cId="2119466313" sldId="611"/>
            <ac:picMk id="4098" creationId="{9443BC3D-5AB1-4FD2-88E1-B6335E0D4298}"/>
          </ac:picMkLst>
        </pc:picChg>
      </pc:sldChg>
      <pc:sldChg chg="modSp add mod ord">
        <pc:chgData name="Thomas Stensitzki" userId="75cafe6b-2f2a-469b-85c4-eec3b9c972ba" providerId="ADAL" clId="{81A95A3F-591B-4915-9F30-386F1902D115}" dt="2022-06-08T11:55:15.780" v="1012" actId="1076"/>
        <pc:sldMkLst>
          <pc:docMk/>
          <pc:sldMk cId="3453821184" sldId="612"/>
        </pc:sldMkLst>
        <pc:spChg chg="mod">
          <ac:chgData name="Thomas Stensitzki" userId="75cafe6b-2f2a-469b-85c4-eec3b9c972ba" providerId="ADAL" clId="{81A95A3F-591B-4915-9F30-386F1902D115}" dt="2022-06-08T11:55:15.780" v="1012" actId="1076"/>
          <ac:spMkLst>
            <pc:docMk/>
            <pc:sldMk cId="3453821184" sldId="612"/>
            <ac:spMk id="2" creationId="{909DC09D-B9A6-4493-9A72-1CA7ECB1F5CA}"/>
          </ac:spMkLst>
        </pc:spChg>
        <pc:spChg chg="mod">
          <ac:chgData name="Thomas Stensitzki" userId="75cafe6b-2f2a-469b-85c4-eec3b9c972ba" providerId="ADAL" clId="{81A95A3F-591B-4915-9F30-386F1902D115}" dt="2022-06-08T09:20:38.431" v="380"/>
          <ac:spMkLst>
            <pc:docMk/>
            <pc:sldMk cId="3453821184" sldId="612"/>
            <ac:spMk id="5" creationId="{C24DACB5-1BEC-4C86-9652-BAFD8DE56FEF}"/>
          </ac:spMkLst>
        </pc:spChg>
      </pc:sldChg>
      <pc:sldChg chg="addSp delSp modSp new mod modClrScheme chgLayout modNotesTx">
        <pc:chgData name="Thomas Stensitzki" userId="75cafe6b-2f2a-469b-85c4-eec3b9c972ba" providerId="ADAL" clId="{81A95A3F-591B-4915-9F30-386F1902D115}" dt="2022-06-03T11:41:19.855" v="238"/>
        <pc:sldMkLst>
          <pc:docMk/>
          <pc:sldMk cId="1137647844" sldId="613"/>
        </pc:sldMkLst>
        <pc:spChg chg="del mod ord">
          <ac:chgData name="Thomas Stensitzki" userId="75cafe6b-2f2a-469b-85c4-eec3b9c972ba" providerId="ADAL" clId="{81A95A3F-591B-4915-9F30-386F1902D115}" dt="2022-06-03T11:40:47.456" v="235" actId="700"/>
          <ac:spMkLst>
            <pc:docMk/>
            <pc:sldMk cId="1137647844" sldId="613"/>
            <ac:spMk id="2" creationId="{55CF984F-34BD-4789-9427-E4BA0C81FD7A}"/>
          </ac:spMkLst>
        </pc:spChg>
        <pc:spChg chg="add mod ord">
          <ac:chgData name="Thomas Stensitzki" userId="75cafe6b-2f2a-469b-85c4-eec3b9c972ba" providerId="ADAL" clId="{81A95A3F-591B-4915-9F30-386F1902D115}" dt="2022-06-03T11:40:49.631" v="236"/>
          <ac:spMkLst>
            <pc:docMk/>
            <pc:sldMk cId="1137647844" sldId="613"/>
            <ac:spMk id="3" creationId="{5983D398-5001-4E05-A912-D1F3389FF724}"/>
          </ac:spMkLst>
        </pc:spChg>
        <pc:spChg chg="add mod ord">
          <ac:chgData name="Thomas Stensitzki" userId="75cafe6b-2f2a-469b-85c4-eec3b9c972ba" providerId="ADAL" clId="{81A95A3F-591B-4915-9F30-386F1902D115}" dt="2022-06-03T11:40:58.848" v="237"/>
          <ac:spMkLst>
            <pc:docMk/>
            <pc:sldMk cId="1137647844" sldId="613"/>
            <ac:spMk id="4" creationId="{CE240E77-CC1A-4FF7-A490-029A8045EADD}"/>
          </ac:spMkLst>
        </pc:spChg>
      </pc:sldChg>
      <pc:sldChg chg="addSp delSp modSp new mod modClrScheme modAnim chgLayout">
        <pc:chgData name="Thomas Stensitzki" userId="75cafe6b-2f2a-469b-85c4-eec3b9c972ba" providerId="ADAL" clId="{81A95A3F-591B-4915-9F30-386F1902D115}" dt="2022-06-08T12:02:58.505" v="1250"/>
        <pc:sldMkLst>
          <pc:docMk/>
          <pc:sldMk cId="1503137777" sldId="614"/>
        </pc:sldMkLst>
        <pc:spChg chg="mod ord">
          <ac:chgData name="Thomas Stensitzki" userId="75cafe6b-2f2a-469b-85c4-eec3b9c972ba" providerId="ADAL" clId="{81A95A3F-591B-4915-9F30-386F1902D115}" dt="2022-06-03T11:42:34.337" v="243" actId="700"/>
          <ac:spMkLst>
            <pc:docMk/>
            <pc:sldMk cId="1503137777" sldId="614"/>
            <ac:spMk id="2" creationId="{8F0EE741-1AA9-4E98-9676-69EE83AA3E40}"/>
          </ac:spMkLst>
        </pc:spChg>
        <pc:spChg chg="del">
          <ac:chgData name="Thomas Stensitzki" userId="75cafe6b-2f2a-469b-85c4-eec3b9c972ba" providerId="ADAL" clId="{81A95A3F-591B-4915-9F30-386F1902D115}" dt="2022-06-03T11:42:34.337" v="243" actId="700"/>
          <ac:spMkLst>
            <pc:docMk/>
            <pc:sldMk cId="1503137777" sldId="614"/>
            <ac:spMk id="3" creationId="{7EAE8079-A3A0-4F89-BD4A-57444D34D93D}"/>
          </ac:spMkLst>
        </pc:spChg>
        <pc:picChg chg="add mod">
          <ac:chgData name="Thomas Stensitzki" userId="75cafe6b-2f2a-469b-85c4-eec3b9c972ba" providerId="ADAL" clId="{81A95A3F-591B-4915-9F30-386F1902D115}" dt="2022-06-03T11:42:55.544" v="247" actId="1440"/>
          <ac:picMkLst>
            <pc:docMk/>
            <pc:sldMk cId="1503137777" sldId="614"/>
            <ac:picMk id="5122" creationId="{BE8BE44B-832F-457E-A4D6-B34B9F6B3A31}"/>
          </ac:picMkLst>
        </pc:picChg>
      </pc:sldChg>
      <pc:sldChg chg="addSp delSp modSp add mod modAnim">
        <pc:chgData name="Thomas Stensitzki" userId="75cafe6b-2f2a-469b-85c4-eec3b9c972ba" providerId="ADAL" clId="{81A95A3F-591B-4915-9F30-386F1902D115}" dt="2022-06-08T12:04:40.484" v="1267" actId="1035"/>
        <pc:sldMkLst>
          <pc:docMk/>
          <pc:sldMk cId="1055936327" sldId="615"/>
        </pc:sldMkLst>
        <pc:spChg chg="mod">
          <ac:chgData name="Thomas Stensitzki" userId="75cafe6b-2f2a-469b-85c4-eec3b9c972ba" providerId="ADAL" clId="{81A95A3F-591B-4915-9F30-386F1902D115}" dt="2022-06-08T09:13:34.161" v="251"/>
          <ac:spMkLst>
            <pc:docMk/>
            <pc:sldMk cId="1055936327" sldId="615"/>
            <ac:spMk id="2" creationId="{8F0EE741-1AA9-4E98-9676-69EE83AA3E40}"/>
          </ac:spMkLst>
        </pc:spChg>
        <pc:spChg chg="add mod">
          <ac:chgData name="Thomas Stensitzki" userId="75cafe6b-2f2a-469b-85c4-eec3b9c972ba" providerId="ADAL" clId="{81A95A3F-591B-4915-9F30-386F1902D115}" dt="2022-06-08T12:04:40.484" v="1267" actId="1035"/>
          <ac:spMkLst>
            <pc:docMk/>
            <pc:sldMk cId="1055936327" sldId="615"/>
            <ac:spMk id="3" creationId="{AB3DB976-C90F-4091-87CF-40163DF71AFA}"/>
          </ac:spMkLst>
        </pc:spChg>
        <pc:picChg chg="add mod">
          <ac:chgData name="Thomas Stensitzki" userId="75cafe6b-2f2a-469b-85c4-eec3b9c972ba" providerId="ADAL" clId="{81A95A3F-591B-4915-9F30-386F1902D115}" dt="2022-06-08T12:04:14.344" v="1263" actId="167"/>
          <ac:picMkLst>
            <pc:docMk/>
            <pc:sldMk cId="1055936327" sldId="615"/>
            <ac:picMk id="1026" creationId="{7B51AD3F-B2C5-40C2-A1B0-148EC98E9697}"/>
          </ac:picMkLst>
        </pc:picChg>
        <pc:picChg chg="add mod">
          <ac:chgData name="Thomas Stensitzki" userId="75cafe6b-2f2a-469b-85c4-eec3b9c972ba" providerId="ADAL" clId="{81A95A3F-591B-4915-9F30-386F1902D115}" dt="2022-06-08T12:04:23.224" v="1264" actId="166"/>
          <ac:picMkLst>
            <pc:docMk/>
            <pc:sldMk cId="1055936327" sldId="615"/>
            <ac:picMk id="1028" creationId="{CE471663-B43B-4113-A916-DCC9088EAFED}"/>
          </ac:picMkLst>
        </pc:picChg>
        <pc:picChg chg="add mod">
          <ac:chgData name="Thomas Stensitzki" userId="75cafe6b-2f2a-469b-85c4-eec3b9c972ba" providerId="ADAL" clId="{81A95A3F-591B-4915-9F30-386F1902D115}" dt="2022-06-08T12:04:26.013" v="1265" actId="166"/>
          <ac:picMkLst>
            <pc:docMk/>
            <pc:sldMk cId="1055936327" sldId="615"/>
            <ac:picMk id="1030" creationId="{55623FF3-B572-4046-968C-52BEC1710B74}"/>
          </ac:picMkLst>
        </pc:picChg>
        <pc:picChg chg="add mod">
          <ac:chgData name="Thomas Stensitzki" userId="75cafe6b-2f2a-469b-85c4-eec3b9c972ba" providerId="ADAL" clId="{81A95A3F-591B-4915-9F30-386F1902D115}" dt="2022-06-08T09:15:15.265" v="274" actId="1440"/>
          <ac:picMkLst>
            <pc:docMk/>
            <pc:sldMk cId="1055936327" sldId="615"/>
            <ac:picMk id="1032" creationId="{A2A89887-1B80-4358-8DAF-1FE056BD8360}"/>
          </ac:picMkLst>
        </pc:picChg>
        <pc:picChg chg="del">
          <ac:chgData name="Thomas Stensitzki" userId="75cafe6b-2f2a-469b-85c4-eec3b9c972ba" providerId="ADAL" clId="{81A95A3F-591B-4915-9F30-386F1902D115}" dt="2022-06-08T09:13:41.683" v="252" actId="478"/>
          <ac:picMkLst>
            <pc:docMk/>
            <pc:sldMk cId="1055936327" sldId="615"/>
            <ac:picMk id="5122" creationId="{BE8BE44B-832F-457E-A4D6-B34B9F6B3A31}"/>
          </ac:picMkLst>
        </pc:picChg>
      </pc:sldChg>
      <pc:sldChg chg="addSp delSp modSp add mod ord modAnim">
        <pc:chgData name="Thomas Stensitzki" userId="75cafe6b-2f2a-469b-85c4-eec3b9c972ba" providerId="ADAL" clId="{81A95A3F-591B-4915-9F30-386F1902D115}" dt="2022-06-08T12:04:48.800" v="1269"/>
        <pc:sldMkLst>
          <pc:docMk/>
          <pc:sldMk cId="3478201021" sldId="616"/>
        </pc:sldMkLst>
        <pc:spChg chg="mod">
          <ac:chgData name="Thomas Stensitzki" userId="75cafe6b-2f2a-469b-85c4-eec3b9c972ba" providerId="ADAL" clId="{81A95A3F-591B-4915-9F30-386F1902D115}" dt="2022-06-08T09:16:52.719" v="284"/>
          <ac:spMkLst>
            <pc:docMk/>
            <pc:sldMk cId="3478201021" sldId="616"/>
            <ac:spMk id="2" creationId="{8F0EE741-1AA9-4E98-9676-69EE83AA3E40}"/>
          </ac:spMkLst>
        </pc:spChg>
        <pc:picChg chg="add mod">
          <ac:chgData name="Thomas Stensitzki" userId="75cafe6b-2f2a-469b-85c4-eec3b9c972ba" providerId="ADAL" clId="{81A95A3F-591B-4915-9F30-386F1902D115}" dt="2022-06-08T09:17:07.579" v="289" actId="1440"/>
          <ac:picMkLst>
            <pc:docMk/>
            <pc:sldMk cId="3478201021" sldId="616"/>
            <ac:picMk id="2050" creationId="{C92D798A-325B-4FD1-BE5A-A55EC7938F3A}"/>
          </ac:picMkLst>
        </pc:picChg>
        <pc:picChg chg="del">
          <ac:chgData name="Thomas Stensitzki" userId="75cafe6b-2f2a-469b-85c4-eec3b9c972ba" providerId="ADAL" clId="{81A95A3F-591B-4915-9F30-386F1902D115}" dt="2022-06-08T09:16:54.280" v="285" actId="478"/>
          <ac:picMkLst>
            <pc:docMk/>
            <pc:sldMk cId="3478201021" sldId="616"/>
            <ac:picMk id="5122" creationId="{BE8BE44B-832F-457E-A4D6-B34B9F6B3A31}"/>
          </ac:picMkLst>
        </pc:picChg>
      </pc:sldChg>
      <pc:sldChg chg="addSp delSp modSp add mod modAnim">
        <pc:chgData name="Thomas Stensitzki" userId="75cafe6b-2f2a-469b-85c4-eec3b9c972ba" providerId="ADAL" clId="{81A95A3F-591B-4915-9F30-386F1902D115}" dt="2022-06-08T12:04:54.800" v="1271"/>
        <pc:sldMkLst>
          <pc:docMk/>
          <pc:sldMk cId="3437431207" sldId="617"/>
        </pc:sldMkLst>
        <pc:spChg chg="mod">
          <ac:chgData name="Thomas Stensitzki" userId="75cafe6b-2f2a-469b-85c4-eec3b9c972ba" providerId="ADAL" clId="{81A95A3F-591B-4915-9F30-386F1902D115}" dt="2022-06-08T09:19:49.535" v="372"/>
          <ac:spMkLst>
            <pc:docMk/>
            <pc:sldMk cId="3437431207" sldId="617"/>
            <ac:spMk id="2" creationId="{8F0EE741-1AA9-4E98-9676-69EE83AA3E40}"/>
          </ac:spMkLst>
        </pc:spChg>
        <pc:picChg chg="del">
          <ac:chgData name="Thomas Stensitzki" userId="75cafe6b-2f2a-469b-85c4-eec3b9c972ba" providerId="ADAL" clId="{81A95A3F-591B-4915-9F30-386F1902D115}" dt="2022-06-08T09:19:51.683" v="373" actId="478"/>
          <ac:picMkLst>
            <pc:docMk/>
            <pc:sldMk cId="3437431207" sldId="617"/>
            <ac:picMk id="2050" creationId="{C92D798A-325B-4FD1-BE5A-A55EC7938F3A}"/>
          </ac:picMkLst>
        </pc:picChg>
        <pc:picChg chg="add mod">
          <ac:chgData name="Thomas Stensitzki" userId="75cafe6b-2f2a-469b-85c4-eec3b9c972ba" providerId="ADAL" clId="{81A95A3F-591B-4915-9F30-386F1902D115}" dt="2022-06-08T09:20:08.122" v="377" actId="1440"/>
          <ac:picMkLst>
            <pc:docMk/>
            <pc:sldMk cId="3437431207" sldId="617"/>
            <ac:picMk id="3074" creationId="{F6D3B784-236A-4E1B-B6AA-B8520973F983}"/>
          </ac:picMkLst>
        </pc:picChg>
      </pc:sldChg>
      <pc:sldChg chg="modSp add mod modAnim">
        <pc:chgData name="Thomas Stensitzki" userId="75cafe6b-2f2a-469b-85c4-eec3b9c972ba" providerId="ADAL" clId="{81A95A3F-591B-4915-9F30-386F1902D115}" dt="2022-06-08T12:05:03.358" v="1273"/>
        <pc:sldMkLst>
          <pc:docMk/>
          <pc:sldMk cId="891073797" sldId="618"/>
        </pc:sldMkLst>
        <pc:spChg chg="mod">
          <ac:chgData name="Thomas Stensitzki" userId="75cafe6b-2f2a-469b-85c4-eec3b9c972ba" providerId="ADAL" clId="{81A95A3F-591B-4915-9F30-386F1902D115}" dt="2022-06-08T09:20:49.256" v="382"/>
          <ac:spMkLst>
            <pc:docMk/>
            <pc:sldMk cId="891073797" sldId="618"/>
            <ac:spMk id="2" creationId="{8F0EE741-1AA9-4E98-9676-69EE83AA3E40}"/>
          </ac:spMkLst>
        </pc:spChg>
        <pc:picChg chg="mod">
          <ac:chgData name="Thomas Stensitzki" userId="75cafe6b-2f2a-469b-85c4-eec3b9c972ba" providerId="ADAL" clId="{81A95A3F-591B-4915-9F30-386F1902D115}" dt="2022-06-08T09:21:05.652" v="385" actId="1076"/>
          <ac:picMkLst>
            <pc:docMk/>
            <pc:sldMk cId="891073797" sldId="618"/>
            <ac:picMk id="3074" creationId="{F6D3B784-236A-4E1B-B6AA-B8520973F983}"/>
          </ac:picMkLst>
        </pc:picChg>
      </pc:sldChg>
      <pc:sldChg chg="modSp add mod ord">
        <pc:chgData name="Thomas Stensitzki" userId="75cafe6b-2f2a-469b-85c4-eec3b9c972ba" providerId="ADAL" clId="{81A95A3F-591B-4915-9F30-386F1902D115}" dt="2022-06-08T11:59:27.476" v="1181" actId="14100"/>
        <pc:sldMkLst>
          <pc:docMk/>
          <pc:sldMk cId="2883104128" sldId="619"/>
        </pc:sldMkLst>
        <pc:spChg chg="mod">
          <ac:chgData name="Thomas Stensitzki" userId="75cafe6b-2f2a-469b-85c4-eec3b9c972ba" providerId="ADAL" clId="{81A95A3F-591B-4915-9F30-386F1902D115}" dt="2022-06-08T11:59:27.476" v="1181" actId="14100"/>
          <ac:spMkLst>
            <pc:docMk/>
            <pc:sldMk cId="2883104128" sldId="619"/>
            <ac:spMk id="2" creationId="{909DC09D-B9A6-4493-9A72-1CA7ECB1F5CA}"/>
          </ac:spMkLst>
        </pc:spChg>
        <pc:spChg chg="mod">
          <ac:chgData name="Thomas Stensitzki" userId="75cafe6b-2f2a-469b-85c4-eec3b9c972ba" providerId="ADAL" clId="{81A95A3F-591B-4915-9F30-386F1902D115}" dt="2022-06-08T11:53:26.725" v="943" actId="108"/>
          <ac:spMkLst>
            <pc:docMk/>
            <pc:sldMk cId="2883104128" sldId="619"/>
            <ac:spMk id="5" creationId="{C24DACB5-1BEC-4C86-9652-BAFD8DE56FEF}"/>
          </ac:spMkLst>
        </pc:spChg>
      </pc:sldChg>
      <pc:sldChg chg="addSp delSp modSp add mod ord modAnim">
        <pc:chgData name="Thomas Stensitzki" userId="75cafe6b-2f2a-469b-85c4-eec3b9c972ba" providerId="ADAL" clId="{81A95A3F-591B-4915-9F30-386F1902D115}" dt="2022-06-08T12:05:41.139" v="1280"/>
        <pc:sldMkLst>
          <pc:docMk/>
          <pc:sldMk cId="1449374427" sldId="620"/>
        </pc:sldMkLst>
        <pc:spChg chg="mod">
          <ac:chgData name="Thomas Stensitzki" userId="75cafe6b-2f2a-469b-85c4-eec3b9c972ba" providerId="ADAL" clId="{81A95A3F-591B-4915-9F30-386F1902D115}" dt="2022-06-08T09:24:34.210" v="430"/>
          <ac:spMkLst>
            <pc:docMk/>
            <pc:sldMk cId="1449374427" sldId="620"/>
            <ac:spMk id="2" creationId="{8F0EE741-1AA9-4E98-9676-69EE83AA3E40}"/>
          </ac:spMkLst>
        </pc:spChg>
        <pc:picChg chg="del">
          <ac:chgData name="Thomas Stensitzki" userId="75cafe6b-2f2a-469b-85c4-eec3b9c972ba" providerId="ADAL" clId="{81A95A3F-591B-4915-9F30-386F1902D115}" dt="2022-06-08T09:24:10.983" v="427" actId="478"/>
          <ac:picMkLst>
            <pc:docMk/>
            <pc:sldMk cId="1449374427" sldId="620"/>
            <ac:picMk id="3074" creationId="{F6D3B784-236A-4E1B-B6AA-B8520973F983}"/>
          </ac:picMkLst>
        </pc:picChg>
        <pc:picChg chg="add mod">
          <ac:chgData name="Thomas Stensitzki" userId="75cafe6b-2f2a-469b-85c4-eec3b9c972ba" providerId="ADAL" clId="{81A95A3F-591B-4915-9F30-386F1902D115}" dt="2022-06-08T09:25:22.675" v="443" actId="1076"/>
          <ac:picMkLst>
            <pc:docMk/>
            <pc:sldMk cId="1449374427" sldId="620"/>
            <ac:picMk id="4098" creationId="{035D4B07-EC58-4E0F-A747-3538FC2C6ACE}"/>
          </ac:picMkLst>
        </pc:picChg>
        <pc:picChg chg="add mod">
          <ac:chgData name="Thomas Stensitzki" userId="75cafe6b-2f2a-469b-85c4-eec3b9c972ba" providerId="ADAL" clId="{81A95A3F-591B-4915-9F30-386F1902D115}" dt="2022-06-08T09:25:25.832" v="455" actId="1035"/>
          <ac:picMkLst>
            <pc:docMk/>
            <pc:sldMk cId="1449374427" sldId="620"/>
            <ac:picMk id="4100" creationId="{164A1FF4-ED82-4AE6-85A5-C5D80791A8A4}"/>
          </ac:picMkLst>
        </pc:picChg>
        <pc:picChg chg="add mod">
          <ac:chgData name="Thomas Stensitzki" userId="75cafe6b-2f2a-469b-85c4-eec3b9c972ba" providerId="ADAL" clId="{81A95A3F-591B-4915-9F30-386F1902D115}" dt="2022-06-08T09:25:17.088" v="441" actId="1076"/>
          <ac:picMkLst>
            <pc:docMk/>
            <pc:sldMk cId="1449374427" sldId="620"/>
            <ac:picMk id="4102" creationId="{57E02677-6381-4E35-AE95-2973DF59F868}"/>
          </ac:picMkLst>
        </pc:picChg>
        <pc:picChg chg="add mod">
          <ac:chgData name="Thomas Stensitzki" userId="75cafe6b-2f2a-469b-85c4-eec3b9c972ba" providerId="ADAL" clId="{81A95A3F-591B-4915-9F30-386F1902D115}" dt="2022-06-08T09:25:11.778" v="440" actId="1076"/>
          <ac:picMkLst>
            <pc:docMk/>
            <pc:sldMk cId="1449374427" sldId="620"/>
            <ac:picMk id="4104" creationId="{7EF6F09E-B2AB-4322-83D9-B69B948FFFB1}"/>
          </ac:picMkLst>
        </pc:picChg>
      </pc:sldChg>
      <pc:sldChg chg="addSp delSp modSp add mod modAnim">
        <pc:chgData name="Thomas Stensitzki" userId="75cafe6b-2f2a-469b-85c4-eec3b9c972ba" providerId="ADAL" clId="{81A95A3F-591B-4915-9F30-386F1902D115}" dt="2022-06-08T12:06:09.907" v="1282"/>
        <pc:sldMkLst>
          <pc:docMk/>
          <pc:sldMk cId="4271250423" sldId="621"/>
        </pc:sldMkLst>
        <pc:spChg chg="mod">
          <ac:chgData name="Thomas Stensitzki" userId="75cafe6b-2f2a-469b-85c4-eec3b9c972ba" providerId="ADAL" clId="{81A95A3F-591B-4915-9F30-386F1902D115}" dt="2022-06-08T09:26:46.053" v="481"/>
          <ac:spMkLst>
            <pc:docMk/>
            <pc:sldMk cId="4271250423" sldId="621"/>
            <ac:spMk id="2" creationId="{8F0EE741-1AA9-4E98-9676-69EE83AA3E40}"/>
          </ac:spMkLst>
        </pc:spChg>
        <pc:picChg chg="del">
          <ac:chgData name="Thomas Stensitzki" userId="75cafe6b-2f2a-469b-85c4-eec3b9c972ba" providerId="ADAL" clId="{81A95A3F-591B-4915-9F30-386F1902D115}" dt="2022-06-08T09:26:51.082" v="482" actId="478"/>
          <ac:picMkLst>
            <pc:docMk/>
            <pc:sldMk cId="4271250423" sldId="621"/>
            <ac:picMk id="4098" creationId="{035D4B07-EC58-4E0F-A747-3538FC2C6ACE}"/>
          </ac:picMkLst>
        </pc:picChg>
        <pc:picChg chg="del">
          <ac:chgData name="Thomas Stensitzki" userId="75cafe6b-2f2a-469b-85c4-eec3b9c972ba" providerId="ADAL" clId="{81A95A3F-591B-4915-9F30-386F1902D115}" dt="2022-06-08T09:26:51.082" v="482" actId="478"/>
          <ac:picMkLst>
            <pc:docMk/>
            <pc:sldMk cId="4271250423" sldId="621"/>
            <ac:picMk id="4100" creationId="{164A1FF4-ED82-4AE6-85A5-C5D80791A8A4}"/>
          </ac:picMkLst>
        </pc:picChg>
        <pc:picChg chg="del">
          <ac:chgData name="Thomas Stensitzki" userId="75cafe6b-2f2a-469b-85c4-eec3b9c972ba" providerId="ADAL" clId="{81A95A3F-591B-4915-9F30-386F1902D115}" dt="2022-06-08T09:26:51.082" v="482" actId="478"/>
          <ac:picMkLst>
            <pc:docMk/>
            <pc:sldMk cId="4271250423" sldId="621"/>
            <ac:picMk id="4102" creationId="{57E02677-6381-4E35-AE95-2973DF59F868}"/>
          </ac:picMkLst>
        </pc:picChg>
        <pc:picChg chg="del">
          <ac:chgData name="Thomas Stensitzki" userId="75cafe6b-2f2a-469b-85c4-eec3b9c972ba" providerId="ADAL" clId="{81A95A3F-591B-4915-9F30-386F1902D115}" dt="2022-06-08T09:26:51.082" v="482" actId="478"/>
          <ac:picMkLst>
            <pc:docMk/>
            <pc:sldMk cId="4271250423" sldId="621"/>
            <ac:picMk id="4104" creationId="{7EF6F09E-B2AB-4322-83D9-B69B948FFFB1}"/>
          </ac:picMkLst>
        </pc:picChg>
        <pc:picChg chg="add mod">
          <ac:chgData name="Thomas Stensitzki" userId="75cafe6b-2f2a-469b-85c4-eec3b9c972ba" providerId="ADAL" clId="{81A95A3F-591B-4915-9F30-386F1902D115}" dt="2022-06-08T09:27:01.145" v="485" actId="1076"/>
          <ac:picMkLst>
            <pc:docMk/>
            <pc:sldMk cId="4271250423" sldId="621"/>
            <ac:picMk id="5122" creationId="{2F599F29-DA65-47FC-A4FF-26B135C988D5}"/>
          </ac:picMkLst>
        </pc:picChg>
      </pc:sldChg>
      <pc:sldChg chg="addSp delSp modSp add mod modAnim">
        <pc:chgData name="Thomas Stensitzki" userId="75cafe6b-2f2a-469b-85c4-eec3b9c972ba" providerId="ADAL" clId="{81A95A3F-591B-4915-9F30-386F1902D115}" dt="2022-06-08T12:06:42.353" v="1290"/>
        <pc:sldMkLst>
          <pc:docMk/>
          <pc:sldMk cId="228228310" sldId="622"/>
        </pc:sldMkLst>
        <pc:spChg chg="mod">
          <ac:chgData name="Thomas Stensitzki" userId="75cafe6b-2f2a-469b-85c4-eec3b9c972ba" providerId="ADAL" clId="{81A95A3F-591B-4915-9F30-386F1902D115}" dt="2022-06-08T09:30:04.380" v="552" actId="20577"/>
          <ac:spMkLst>
            <pc:docMk/>
            <pc:sldMk cId="228228310" sldId="622"/>
            <ac:spMk id="2" creationId="{EC46AD28-746E-4246-884F-4DAE24C62042}"/>
          </ac:spMkLst>
        </pc:spChg>
        <pc:picChg chg="del">
          <ac:chgData name="Thomas Stensitzki" userId="75cafe6b-2f2a-469b-85c4-eec3b9c972ba" providerId="ADAL" clId="{81A95A3F-591B-4915-9F30-386F1902D115}" dt="2022-06-08T09:28:35.849" v="502" actId="478"/>
          <ac:picMkLst>
            <pc:docMk/>
            <pc:sldMk cId="228228310" sldId="622"/>
            <ac:picMk id="6146" creationId="{BEB228D0-D6CB-482E-981C-8BBE1B427912}"/>
          </ac:picMkLst>
        </pc:picChg>
        <pc:picChg chg="del">
          <ac:chgData name="Thomas Stensitzki" userId="75cafe6b-2f2a-469b-85c4-eec3b9c972ba" providerId="ADAL" clId="{81A95A3F-591B-4915-9F30-386F1902D115}" dt="2022-06-08T09:28:36.425" v="503" actId="478"/>
          <ac:picMkLst>
            <pc:docMk/>
            <pc:sldMk cId="228228310" sldId="622"/>
            <ac:picMk id="6148" creationId="{C73D027B-CA10-4632-9BCD-2A04C1CA1660}"/>
          </ac:picMkLst>
        </pc:picChg>
        <pc:picChg chg="add mod">
          <ac:chgData name="Thomas Stensitzki" userId="75cafe6b-2f2a-469b-85c4-eec3b9c972ba" providerId="ADAL" clId="{81A95A3F-591B-4915-9F30-386F1902D115}" dt="2022-06-08T09:29:32.539" v="517" actId="1440"/>
          <ac:picMkLst>
            <pc:docMk/>
            <pc:sldMk cId="228228310" sldId="622"/>
            <ac:picMk id="7170" creationId="{68AA8AAA-8E75-4E4C-825B-3AF8C539D81B}"/>
          </ac:picMkLst>
        </pc:picChg>
        <pc:picChg chg="add del mod">
          <ac:chgData name="Thomas Stensitzki" userId="75cafe6b-2f2a-469b-85c4-eec3b9c972ba" providerId="ADAL" clId="{81A95A3F-591B-4915-9F30-386F1902D115}" dt="2022-06-08T09:29:23.237" v="515" actId="478"/>
          <ac:picMkLst>
            <pc:docMk/>
            <pc:sldMk cId="228228310" sldId="622"/>
            <ac:picMk id="7172" creationId="{B62C4D70-8E1B-4FAE-AD81-48B98BF24B37}"/>
          </ac:picMkLst>
        </pc:picChg>
      </pc:sldChg>
      <pc:sldChg chg="addSp delSp modSp add mod modAnim">
        <pc:chgData name="Thomas Stensitzki" userId="75cafe6b-2f2a-469b-85c4-eec3b9c972ba" providerId="ADAL" clId="{81A95A3F-591B-4915-9F30-386F1902D115}" dt="2022-06-08T12:06:48.956" v="1293"/>
        <pc:sldMkLst>
          <pc:docMk/>
          <pc:sldMk cId="2858615882" sldId="623"/>
        </pc:sldMkLst>
        <pc:spChg chg="mod">
          <ac:chgData name="Thomas Stensitzki" userId="75cafe6b-2f2a-469b-85c4-eec3b9c972ba" providerId="ADAL" clId="{81A95A3F-591B-4915-9F30-386F1902D115}" dt="2022-06-08T09:29:55.495" v="548" actId="20577"/>
          <ac:spMkLst>
            <pc:docMk/>
            <pc:sldMk cId="2858615882" sldId="623"/>
            <ac:spMk id="2" creationId="{EC46AD28-746E-4246-884F-4DAE24C62042}"/>
          </ac:spMkLst>
        </pc:spChg>
        <pc:picChg chg="del">
          <ac:chgData name="Thomas Stensitzki" userId="75cafe6b-2f2a-469b-85c4-eec3b9c972ba" providerId="ADAL" clId="{81A95A3F-591B-4915-9F30-386F1902D115}" dt="2022-06-08T09:29:57.825" v="549" actId="478"/>
          <ac:picMkLst>
            <pc:docMk/>
            <pc:sldMk cId="2858615882" sldId="623"/>
            <ac:picMk id="7170" creationId="{68AA8AAA-8E75-4E4C-825B-3AF8C539D81B}"/>
          </ac:picMkLst>
        </pc:picChg>
        <pc:picChg chg="mod">
          <ac:chgData name="Thomas Stensitzki" userId="75cafe6b-2f2a-469b-85c4-eec3b9c972ba" providerId="ADAL" clId="{81A95A3F-591B-4915-9F30-386F1902D115}" dt="2022-06-08T09:30:27.462" v="559" actId="1440"/>
          <ac:picMkLst>
            <pc:docMk/>
            <pc:sldMk cId="2858615882" sldId="623"/>
            <ac:picMk id="7172" creationId="{B62C4D70-8E1B-4FAE-AD81-48B98BF24B37}"/>
          </ac:picMkLst>
        </pc:picChg>
        <pc:picChg chg="add mod">
          <ac:chgData name="Thomas Stensitzki" userId="75cafe6b-2f2a-469b-85c4-eec3b9c972ba" providerId="ADAL" clId="{81A95A3F-591B-4915-9F30-386F1902D115}" dt="2022-06-08T09:30:25.934" v="558" actId="1440"/>
          <ac:picMkLst>
            <pc:docMk/>
            <pc:sldMk cId="2858615882" sldId="623"/>
            <ac:picMk id="8194" creationId="{2173D17A-A0D4-4042-8DC4-368B41CDD94E}"/>
          </ac:picMkLst>
        </pc:picChg>
      </pc:sldChg>
      <pc:sldChg chg="addSp delSp modSp add mod modAnim">
        <pc:chgData name="Thomas Stensitzki" userId="75cafe6b-2f2a-469b-85c4-eec3b9c972ba" providerId="ADAL" clId="{81A95A3F-591B-4915-9F30-386F1902D115}" dt="2022-06-08T12:06:56.502" v="1296"/>
        <pc:sldMkLst>
          <pc:docMk/>
          <pc:sldMk cId="1458805602" sldId="624"/>
        </pc:sldMkLst>
        <pc:spChg chg="mod">
          <ac:chgData name="Thomas Stensitzki" userId="75cafe6b-2f2a-469b-85c4-eec3b9c972ba" providerId="ADAL" clId="{81A95A3F-591B-4915-9F30-386F1902D115}" dt="2022-06-08T09:36:35.235" v="607"/>
          <ac:spMkLst>
            <pc:docMk/>
            <pc:sldMk cId="1458805602" sldId="624"/>
            <ac:spMk id="2" creationId="{EC46AD28-746E-4246-884F-4DAE24C62042}"/>
          </ac:spMkLst>
        </pc:spChg>
        <pc:picChg chg="del">
          <ac:chgData name="Thomas Stensitzki" userId="75cafe6b-2f2a-469b-85c4-eec3b9c972ba" providerId="ADAL" clId="{81A95A3F-591B-4915-9F30-386F1902D115}" dt="2022-06-08T09:36:36.794" v="608" actId="478"/>
          <ac:picMkLst>
            <pc:docMk/>
            <pc:sldMk cId="1458805602" sldId="624"/>
            <ac:picMk id="7172" creationId="{B62C4D70-8E1B-4FAE-AD81-48B98BF24B37}"/>
          </ac:picMkLst>
        </pc:picChg>
        <pc:picChg chg="del">
          <ac:chgData name="Thomas Stensitzki" userId="75cafe6b-2f2a-469b-85c4-eec3b9c972ba" providerId="ADAL" clId="{81A95A3F-591B-4915-9F30-386F1902D115}" dt="2022-06-08T09:36:37.310" v="609" actId="478"/>
          <ac:picMkLst>
            <pc:docMk/>
            <pc:sldMk cId="1458805602" sldId="624"/>
            <ac:picMk id="8194" creationId="{2173D17A-A0D4-4042-8DC4-368B41CDD94E}"/>
          </ac:picMkLst>
        </pc:picChg>
        <pc:picChg chg="add mod">
          <ac:chgData name="Thomas Stensitzki" userId="75cafe6b-2f2a-469b-85c4-eec3b9c972ba" providerId="ADAL" clId="{81A95A3F-591B-4915-9F30-386F1902D115}" dt="2022-06-08T09:36:50.132" v="613" actId="1440"/>
          <ac:picMkLst>
            <pc:docMk/>
            <pc:sldMk cId="1458805602" sldId="624"/>
            <ac:picMk id="9218" creationId="{50A1BB1A-7CF3-4EE3-BF1B-75BF050379F1}"/>
          </ac:picMkLst>
        </pc:picChg>
        <pc:picChg chg="add mod">
          <ac:chgData name="Thomas Stensitzki" userId="75cafe6b-2f2a-469b-85c4-eec3b9c972ba" providerId="ADAL" clId="{81A95A3F-591B-4915-9F30-386F1902D115}" dt="2022-06-08T09:37:06.841" v="617" actId="1440"/>
          <ac:picMkLst>
            <pc:docMk/>
            <pc:sldMk cId="1458805602" sldId="624"/>
            <ac:picMk id="9220" creationId="{E7B6F32E-25BC-4900-91D4-DADC692AA612}"/>
          </ac:picMkLst>
        </pc:picChg>
      </pc:sldChg>
      <pc:sldChg chg="modSp add mod ord">
        <pc:chgData name="Thomas Stensitzki" userId="75cafe6b-2f2a-469b-85c4-eec3b9c972ba" providerId="ADAL" clId="{81A95A3F-591B-4915-9F30-386F1902D115}" dt="2022-06-08T12:00:37.745" v="1221" actId="1076"/>
        <pc:sldMkLst>
          <pc:docMk/>
          <pc:sldMk cId="772649472" sldId="625"/>
        </pc:sldMkLst>
        <pc:spChg chg="mod">
          <ac:chgData name="Thomas Stensitzki" userId="75cafe6b-2f2a-469b-85c4-eec3b9c972ba" providerId="ADAL" clId="{81A95A3F-591B-4915-9F30-386F1902D115}" dt="2022-06-08T12:00:37.745" v="1221" actId="1076"/>
          <ac:spMkLst>
            <pc:docMk/>
            <pc:sldMk cId="772649472" sldId="625"/>
            <ac:spMk id="2" creationId="{909DC09D-B9A6-4493-9A72-1CA7ECB1F5CA}"/>
          </ac:spMkLst>
        </pc:spChg>
        <pc:spChg chg="mod">
          <ac:chgData name="Thomas Stensitzki" userId="75cafe6b-2f2a-469b-85c4-eec3b9c972ba" providerId="ADAL" clId="{81A95A3F-591B-4915-9F30-386F1902D115}" dt="2022-06-08T09:40:01.035" v="651" actId="20577"/>
          <ac:spMkLst>
            <pc:docMk/>
            <pc:sldMk cId="772649472" sldId="625"/>
            <ac:spMk id="5" creationId="{C24DACB5-1BEC-4C86-9652-BAFD8DE56FEF}"/>
          </ac:spMkLst>
        </pc:spChg>
      </pc:sldChg>
      <pc:sldChg chg="addSp delSp modSp add mod ord modAnim">
        <pc:chgData name="Thomas Stensitzki" userId="75cafe6b-2f2a-469b-85c4-eec3b9c972ba" providerId="ADAL" clId="{81A95A3F-591B-4915-9F30-386F1902D115}" dt="2022-06-08T12:06:15.971" v="1284"/>
        <pc:sldMkLst>
          <pc:docMk/>
          <pc:sldMk cId="60466671" sldId="626"/>
        </pc:sldMkLst>
        <pc:spChg chg="mod">
          <ac:chgData name="Thomas Stensitzki" userId="75cafe6b-2f2a-469b-85c4-eec3b9c972ba" providerId="ADAL" clId="{81A95A3F-591B-4915-9F30-386F1902D115}" dt="2022-06-08T09:40:13.608" v="655"/>
          <ac:spMkLst>
            <pc:docMk/>
            <pc:sldMk cId="60466671" sldId="626"/>
            <ac:spMk id="2" creationId="{8F0EE741-1AA9-4E98-9676-69EE83AA3E40}"/>
          </ac:spMkLst>
        </pc:spChg>
        <pc:picChg chg="del">
          <ac:chgData name="Thomas Stensitzki" userId="75cafe6b-2f2a-469b-85c4-eec3b9c972ba" providerId="ADAL" clId="{81A95A3F-591B-4915-9F30-386F1902D115}" dt="2022-06-08T09:40:15.048" v="656" actId="478"/>
          <ac:picMkLst>
            <pc:docMk/>
            <pc:sldMk cId="60466671" sldId="626"/>
            <ac:picMk id="5122" creationId="{2F599F29-DA65-47FC-A4FF-26B135C988D5}"/>
          </ac:picMkLst>
        </pc:picChg>
        <pc:picChg chg="add mod">
          <ac:chgData name="Thomas Stensitzki" userId="75cafe6b-2f2a-469b-85c4-eec3b9c972ba" providerId="ADAL" clId="{81A95A3F-591B-4915-9F30-386F1902D115}" dt="2022-06-08T09:40:36.059" v="661" actId="1440"/>
          <ac:picMkLst>
            <pc:docMk/>
            <pc:sldMk cId="60466671" sldId="626"/>
            <ac:picMk id="10242" creationId="{BEEB2A67-E3B4-40D1-BE01-DD233D83DAF3}"/>
          </ac:picMkLst>
        </pc:picChg>
      </pc:sldChg>
      <pc:sldChg chg="addSp delSp modSp add mod modAnim">
        <pc:chgData name="Thomas Stensitzki" userId="75cafe6b-2f2a-469b-85c4-eec3b9c972ba" providerId="ADAL" clId="{81A95A3F-591B-4915-9F30-386F1902D115}" dt="2022-06-08T12:07:03.925" v="1300"/>
        <pc:sldMkLst>
          <pc:docMk/>
          <pc:sldMk cId="851289349" sldId="627"/>
        </pc:sldMkLst>
        <pc:spChg chg="mod">
          <ac:chgData name="Thomas Stensitzki" userId="75cafe6b-2f2a-469b-85c4-eec3b9c972ba" providerId="ADAL" clId="{81A95A3F-591B-4915-9F30-386F1902D115}" dt="2022-06-08T09:42:48.884" v="668" actId="20577"/>
          <ac:spMkLst>
            <pc:docMk/>
            <pc:sldMk cId="851289349" sldId="627"/>
            <ac:spMk id="2" creationId="{EC46AD28-746E-4246-884F-4DAE24C62042}"/>
          </ac:spMkLst>
        </pc:spChg>
        <pc:picChg chg="del">
          <ac:chgData name="Thomas Stensitzki" userId="75cafe6b-2f2a-469b-85c4-eec3b9c972ba" providerId="ADAL" clId="{81A95A3F-591B-4915-9F30-386F1902D115}" dt="2022-06-08T09:43:05.673" v="670" actId="478"/>
          <ac:picMkLst>
            <pc:docMk/>
            <pc:sldMk cId="851289349" sldId="627"/>
            <ac:picMk id="9218" creationId="{50A1BB1A-7CF3-4EE3-BF1B-75BF050379F1}"/>
          </ac:picMkLst>
        </pc:picChg>
        <pc:picChg chg="del">
          <ac:chgData name="Thomas Stensitzki" userId="75cafe6b-2f2a-469b-85c4-eec3b9c972ba" providerId="ADAL" clId="{81A95A3F-591B-4915-9F30-386F1902D115}" dt="2022-06-08T09:43:05.190" v="669" actId="478"/>
          <ac:picMkLst>
            <pc:docMk/>
            <pc:sldMk cId="851289349" sldId="627"/>
            <ac:picMk id="9220" creationId="{E7B6F32E-25BC-4900-91D4-DADC692AA612}"/>
          </ac:picMkLst>
        </pc:picChg>
        <pc:picChg chg="add mod">
          <ac:chgData name="Thomas Stensitzki" userId="75cafe6b-2f2a-469b-85c4-eec3b9c972ba" providerId="ADAL" clId="{81A95A3F-591B-4915-9F30-386F1902D115}" dt="2022-06-08T09:44:05.002" v="683" actId="1440"/>
          <ac:picMkLst>
            <pc:docMk/>
            <pc:sldMk cId="851289349" sldId="627"/>
            <ac:picMk id="11266" creationId="{60E12680-8F51-4512-9E26-FDC99B644A06}"/>
          </ac:picMkLst>
        </pc:picChg>
        <pc:picChg chg="add mod">
          <ac:chgData name="Thomas Stensitzki" userId="75cafe6b-2f2a-469b-85c4-eec3b9c972ba" providerId="ADAL" clId="{81A95A3F-591B-4915-9F30-386F1902D115}" dt="2022-06-08T09:44:03.655" v="682" actId="1440"/>
          <ac:picMkLst>
            <pc:docMk/>
            <pc:sldMk cId="851289349" sldId="627"/>
            <ac:picMk id="11268" creationId="{050444B5-4A22-48BF-94D3-A56D5A8642B9}"/>
          </ac:picMkLst>
        </pc:picChg>
      </pc:sldChg>
      <pc:sldChg chg="addSp delSp modSp add modAnim">
        <pc:chgData name="Thomas Stensitzki" userId="75cafe6b-2f2a-469b-85c4-eec3b9c972ba" providerId="ADAL" clId="{81A95A3F-591B-4915-9F30-386F1902D115}" dt="2022-06-08T12:07:08.400" v="1302"/>
        <pc:sldMkLst>
          <pc:docMk/>
          <pc:sldMk cId="2662624884" sldId="628"/>
        </pc:sldMkLst>
        <pc:picChg chg="del">
          <ac:chgData name="Thomas Stensitzki" userId="75cafe6b-2f2a-469b-85c4-eec3b9c972ba" providerId="ADAL" clId="{81A95A3F-591B-4915-9F30-386F1902D115}" dt="2022-06-08T09:44:58.051" v="685" actId="478"/>
          <ac:picMkLst>
            <pc:docMk/>
            <pc:sldMk cId="2662624884" sldId="628"/>
            <ac:picMk id="11266" creationId="{60E12680-8F51-4512-9E26-FDC99B644A06}"/>
          </ac:picMkLst>
        </pc:picChg>
        <pc:picChg chg="del">
          <ac:chgData name="Thomas Stensitzki" userId="75cafe6b-2f2a-469b-85c4-eec3b9c972ba" providerId="ADAL" clId="{81A95A3F-591B-4915-9F30-386F1902D115}" dt="2022-06-08T09:44:58.520" v="686" actId="478"/>
          <ac:picMkLst>
            <pc:docMk/>
            <pc:sldMk cId="2662624884" sldId="628"/>
            <ac:picMk id="11268" creationId="{050444B5-4A22-48BF-94D3-A56D5A8642B9}"/>
          </ac:picMkLst>
        </pc:picChg>
        <pc:picChg chg="add mod">
          <ac:chgData name="Thomas Stensitzki" userId="75cafe6b-2f2a-469b-85c4-eec3b9c972ba" providerId="ADAL" clId="{81A95A3F-591B-4915-9F30-386F1902D115}" dt="2022-06-08T09:45:07.769" v="689" actId="1440"/>
          <ac:picMkLst>
            <pc:docMk/>
            <pc:sldMk cId="2662624884" sldId="628"/>
            <ac:picMk id="12290" creationId="{5170E989-D817-4956-ACE0-F6174DD1AF50}"/>
          </ac:picMkLst>
        </pc:picChg>
      </pc:sldChg>
      <pc:sldChg chg="modSp add mod ord">
        <pc:chgData name="Thomas Stensitzki" userId="75cafe6b-2f2a-469b-85c4-eec3b9c972ba" providerId="ADAL" clId="{81A95A3F-591B-4915-9F30-386F1902D115}" dt="2022-06-08T11:54:14.326" v="949" actId="1076"/>
        <pc:sldMkLst>
          <pc:docMk/>
          <pc:sldMk cId="2218637555" sldId="629"/>
        </pc:sldMkLst>
        <pc:spChg chg="mod">
          <ac:chgData name="Thomas Stensitzki" userId="75cafe6b-2f2a-469b-85c4-eec3b9c972ba" providerId="ADAL" clId="{81A95A3F-591B-4915-9F30-386F1902D115}" dt="2022-06-08T11:54:14.326" v="949" actId="1076"/>
          <ac:spMkLst>
            <pc:docMk/>
            <pc:sldMk cId="2218637555" sldId="629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81A95A3F-591B-4915-9F30-386F1902D115}" dt="2022-06-08T11:54:30.738" v="959" actId="1036"/>
        <pc:sldMkLst>
          <pc:docMk/>
          <pc:sldMk cId="3271888249" sldId="630"/>
        </pc:sldMkLst>
        <pc:spChg chg="mod">
          <ac:chgData name="Thomas Stensitzki" userId="75cafe6b-2f2a-469b-85c4-eec3b9c972ba" providerId="ADAL" clId="{81A95A3F-591B-4915-9F30-386F1902D115}" dt="2022-06-08T11:54:30.738" v="959" actId="1036"/>
          <ac:spMkLst>
            <pc:docMk/>
            <pc:sldMk cId="3271888249" sldId="630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81A95A3F-591B-4915-9F30-386F1902D115}" dt="2022-06-08T11:54:43.727" v="983" actId="1035"/>
        <pc:sldMkLst>
          <pc:docMk/>
          <pc:sldMk cId="2569360966" sldId="631"/>
        </pc:sldMkLst>
        <pc:spChg chg="mod">
          <ac:chgData name="Thomas Stensitzki" userId="75cafe6b-2f2a-469b-85c4-eec3b9c972ba" providerId="ADAL" clId="{81A95A3F-591B-4915-9F30-386F1902D115}" dt="2022-06-08T11:54:43.727" v="983" actId="1035"/>
          <ac:spMkLst>
            <pc:docMk/>
            <pc:sldMk cId="2569360966" sldId="631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81A95A3F-591B-4915-9F30-386F1902D115}" dt="2022-06-08T11:54:56.799" v="1006" actId="1035"/>
        <pc:sldMkLst>
          <pc:docMk/>
          <pc:sldMk cId="3289523661" sldId="632"/>
        </pc:sldMkLst>
        <pc:spChg chg="mod">
          <ac:chgData name="Thomas Stensitzki" userId="75cafe6b-2f2a-469b-85c4-eec3b9c972ba" providerId="ADAL" clId="{81A95A3F-591B-4915-9F30-386F1902D115}" dt="2022-06-08T11:54:56.799" v="1006" actId="1035"/>
          <ac:spMkLst>
            <pc:docMk/>
            <pc:sldMk cId="3289523661" sldId="632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81A95A3F-591B-4915-9F30-386F1902D115}" dt="2022-06-08T11:55:10.365" v="1011" actId="14100"/>
        <pc:sldMkLst>
          <pc:docMk/>
          <pc:sldMk cId="561515482" sldId="633"/>
        </pc:sldMkLst>
        <pc:spChg chg="mod">
          <ac:chgData name="Thomas Stensitzki" userId="75cafe6b-2f2a-469b-85c4-eec3b9c972ba" providerId="ADAL" clId="{81A95A3F-591B-4915-9F30-386F1902D115}" dt="2022-06-08T11:55:10.365" v="1011" actId="14100"/>
          <ac:spMkLst>
            <pc:docMk/>
            <pc:sldMk cId="561515482" sldId="633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81A95A3F-591B-4915-9F30-386F1902D115}" dt="2022-06-08T11:56:35.479" v="1038" actId="1035"/>
        <pc:sldMkLst>
          <pc:docMk/>
          <pc:sldMk cId="708263922" sldId="634"/>
        </pc:sldMkLst>
        <pc:spChg chg="mod">
          <ac:chgData name="Thomas Stensitzki" userId="75cafe6b-2f2a-469b-85c4-eec3b9c972ba" providerId="ADAL" clId="{81A95A3F-591B-4915-9F30-386F1902D115}" dt="2022-06-08T11:56:35.479" v="1038" actId="1035"/>
          <ac:spMkLst>
            <pc:docMk/>
            <pc:sldMk cId="708263922" sldId="634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81A95A3F-591B-4915-9F30-386F1902D115}" dt="2022-06-08T11:56:52.183" v="1063" actId="1036"/>
        <pc:sldMkLst>
          <pc:docMk/>
          <pc:sldMk cId="1915675541" sldId="635"/>
        </pc:sldMkLst>
        <pc:spChg chg="mod">
          <ac:chgData name="Thomas Stensitzki" userId="75cafe6b-2f2a-469b-85c4-eec3b9c972ba" providerId="ADAL" clId="{81A95A3F-591B-4915-9F30-386F1902D115}" dt="2022-06-08T11:56:52.183" v="1063" actId="1036"/>
          <ac:spMkLst>
            <pc:docMk/>
            <pc:sldMk cId="1915675541" sldId="635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81A95A3F-591B-4915-9F30-386F1902D115}" dt="2022-06-08T11:57:16.143" v="1094" actId="14100"/>
        <pc:sldMkLst>
          <pc:docMk/>
          <pc:sldMk cId="162606529" sldId="636"/>
        </pc:sldMkLst>
        <pc:spChg chg="mod">
          <ac:chgData name="Thomas Stensitzki" userId="75cafe6b-2f2a-469b-85c4-eec3b9c972ba" providerId="ADAL" clId="{81A95A3F-591B-4915-9F30-386F1902D115}" dt="2022-06-08T11:57:16.143" v="1094" actId="14100"/>
          <ac:spMkLst>
            <pc:docMk/>
            <pc:sldMk cId="162606529" sldId="636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81A95A3F-591B-4915-9F30-386F1902D115}" dt="2022-06-08T11:58:43.655" v="1155"/>
        <pc:sldMkLst>
          <pc:docMk/>
          <pc:sldMk cId="2667813829" sldId="637"/>
        </pc:sldMkLst>
        <pc:spChg chg="mod">
          <ac:chgData name="Thomas Stensitzki" userId="75cafe6b-2f2a-469b-85c4-eec3b9c972ba" providerId="ADAL" clId="{81A95A3F-591B-4915-9F30-386F1902D115}" dt="2022-06-08T11:57:52.880" v="1148" actId="1036"/>
          <ac:spMkLst>
            <pc:docMk/>
            <pc:sldMk cId="2667813829" sldId="637"/>
            <ac:spMk id="2" creationId="{909DC09D-B9A6-4493-9A72-1CA7ECB1F5CA}"/>
          </ac:spMkLst>
        </pc:spChg>
      </pc:sldChg>
      <pc:sldChg chg="add del ord">
        <pc:chgData name="Thomas Stensitzki" userId="75cafe6b-2f2a-469b-85c4-eec3b9c972ba" providerId="ADAL" clId="{81A95A3F-591B-4915-9F30-386F1902D115}" dt="2022-06-08T11:58:50.591" v="1156" actId="47"/>
        <pc:sldMkLst>
          <pc:docMk/>
          <pc:sldMk cId="3925347447" sldId="638"/>
        </pc:sldMkLst>
      </pc:sldChg>
      <pc:sldChg chg="modSp add mod ord">
        <pc:chgData name="Thomas Stensitzki" userId="75cafe6b-2f2a-469b-85c4-eec3b9c972ba" providerId="ADAL" clId="{81A95A3F-591B-4915-9F30-386F1902D115}" dt="2022-06-08T11:59:17.007" v="1179" actId="1076"/>
        <pc:sldMkLst>
          <pc:docMk/>
          <pc:sldMk cId="2476629680" sldId="639"/>
        </pc:sldMkLst>
        <pc:spChg chg="mod">
          <ac:chgData name="Thomas Stensitzki" userId="75cafe6b-2f2a-469b-85c4-eec3b9c972ba" providerId="ADAL" clId="{81A95A3F-591B-4915-9F30-386F1902D115}" dt="2022-06-08T11:59:17.007" v="1179" actId="1076"/>
          <ac:spMkLst>
            <pc:docMk/>
            <pc:sldMk cId="2476629680" sldId="639"/>
            <ac:spMk id="2" creationId="{909DC09D-B9A6-4493-9A72-1CA7ECB1F5CA}"/>
          </ac:spMkLst>
        </pc:spChg>
      </pc:sldChg>
      <pc:sldChg chg="modSp add mod">
        <pc:chgData name="Thomas Stensitzki" userId="75cafe6b-2f2a-469b-85c4-eec3b9c972ba" providerId="ADAL" clId="{81A95A3F-591B-4915-9F30-386F1902D115}" dt="2022-06-08T11:58:59.451" v="1178" actId="1036"/>
        <pc:sldMkLst>
          <pc:docMk/>
          <pc:sldMk cId="3213284904" sldId="640"/>
        </pc:sldMkLst>
        <pc:spChg chg="mod">
          <ac:chgData name="Thomas Stensitzki" userId="75cafe6b-2f2a-469b-85c4-eec3b9c972ba" providerId="ADAL" clId="{81A95A3F-591B-4915-9F30-386F1902D115}" dt="2022-06-08T11:58:59.451" v="1178" actId="1036"/>
          <ac:spMkLst>
            <pc:docMk/>
            <pc:sldMk cId="3213284904" sldId="640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81A95A3F-591B-4915-9F30-386F1902D115}" dt="2022-06-08T11:59:54.753" v="1188"/>
        <pc:sldMkLst>
          <pc:docMk/>
          <pc:sldMk cId="2520872566" sldId="641"/>
        </pc:sldMkLst>
        <pc:spChg chg="mod">
          <ac:chgData name="Thomas Stensitzki" userId="75cafe6b-2f2a-469b-85c4-eec3b9c972ba" providerId="ADAL" clId="{81A95A3F-591B-4915-9F30-386F1902D115}" dt="2022-06-08T11:59:40.552" v="1186" actId="14100"/>
          <ac:spMkLst>
            <pc:docMk/>
            <pc:sldMk cId="2520872566" sldId="641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81A95A3F-591B-4915-9F30-386F1902D115}" dt="2022-06-08T12:00:04.270" v="1212" actId="1035"/>
        <pc:sldMkLst>
          <pc:docMk/>
          <pc:sldMk cId="1280337819" sldId="642"/>
        </pc:sldMkLst>
        <pc:spChg chg="mod">
          <ac:chgData name="Thomas Stensitzki" userId="75cafe6b-2f2a-469b-85c4-eec3b9c972ba" providerId="ADAL" clId="{81A95A3F-591B-4915-9F30-386F1902D115}" dt="2022-06-08T12:00:04.270" v="1212" actId="1035"/>
          <ac:spMkLst>
            <pc:docMk/>
            <pc:sldMk cId="1280337819" sldId="642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81A95A3F-591B-4915-9F30-386F1902D115}" dt="2022-06-08T12:00:15.741" v="1216" actId="1076"/>
        <pc:sldMkLst>
          <pc:docMk/>
          <pc:sldMk cId="2743587653" sldId="643"/>
        </pc:sldMkLst>
        <pc:spChg chg="mod">
          <ac:chgData name="Thomas Stensitzki" userId="75cafe6b-2f2a-469b-85c4-eec3b9c972ba" providerId="ADAL" clId="{81A95A3F-591B-4915-9F30-386F1902D115}" dt="2022-06-08T12:00:15.741" v="1216" actId="1076"/>
          <ac:spMkLst>
            <pc:docMk/>
            <pc:sldMk cId="2743587653" sldId="643"/>
            <ac:spMk id="2" creationId="{909DC09D-B9A6-4493-9A72-1CA7ECB1F5CA}"/>
          </ac:spMkLst>
        </pc:spChg>
      </pc:sldChg>
      <pc:sldChg chg="modSp add mod">
        <pc:chgData name="Thomas Stensitzki" userId="75cafe6b-2f2a-469b-85c4-eec3b9c972ba" providerId="ADAL" clId="{81A95A3F-591B-4915-9F30-386F1902D115}" dt="2022-06-08T12:00:21.636" v="1218" actId="1076"/>
        <pc:sldMkLst>
          <pc:docMk/>
          <pc:sldMk cId="3061187211" sldId="644"/>
        </pc:sldMkLst>
        <pc:spChg chg="mod">
          <ac:chgData name="Thomas Stensitzki" userId="75cafe6b-2f2a-469b-85c4-eec3b9c972ba" providerId="ADAL" clId="{81A95A3F-591B-4915-9F30-386F1902D115}" dt="2022-06-08T12:00:21.636" v="1218" actId="1076"/>
          <ac:spMkLst>
            <pc:docMk/>
            <pc:sldMk cId="3061187211" sldId="644"/>
            <ac:spMk id="2" creationId="{909DC09D-B9A6-4493-9A72-1CA7ECB1F5CA}"/>
          </ac:spMkLst>
        </pc:spChg>
      </pc:sldChg>
      <pc:sldChg chg="modSp add mod">
        <pc:chgData name="Thomas Stensitzki" userId="75cafe6b-2f2a-469b-85c4-eec3b9c972ba" providerId="ADAL" clId="{81A95A3F-591B-4915-9F30-386F1902D115}" dt="2022-06-08T12:00:30.547" v="1220" actId="1076"/>
        <pc:sldMkLst>
          <pc:docMk/>
          <pc:sldMk cId="2023922211" sldId="645"/>
        </pc:sldMkLst>
        <pc:spChg chg="mod">
          <ac:chgData name="Thomas Stensitzki" userId="75cafe6b-2f2a-469b-85c4-eec3b9c972ba" providerId="ADAL" clId="{81A95A3F-591B-4915-9F30-386F1902D115}" dt="2022-06-08T12:00:30.547" v="1220" actId="1076"/>
          <ac:spMkLst>
            <pc:docMk/>
            <pc:sldMk cId="2023922211" sldId="645"/>
            <ac:spMk id="2" creationId="{909DC09D-B9A6-4493-9A72-1CA7ECB1F5CA}"/>
          </ac:spMkLst>
        </pc:spChg>
      </pc:sldChg>
      <pc:sldChg chg="modSp add mod">
        <pc:chgData name="Thomas Stensitzki" userId="75cafe6b-2f2a-469b-85c4-eec3b9c972ba" providerId="ADAL" clId="{81A95A3F-591B-4915-9F30-386F1902D115}" dt="2022-06-08T12:01:13.252" v="1226" actId="14100"/>
        <pc:sldMkLst>
          <pc:docMk/>
          <pc:sldMk cId="4232995729" sldId="646"/>
        </pc:sldMkLst>
        <pc:spChg chg="mod">
          <ac:chgData name="Thomas Stensitzki" userId="75cafe6b-2f2a-469b-85c4-eec3b9c972ba" providerId="ADAL" clId="{81A95A3F-591B-4915-9F30-386F1902D115}" dt="2022-06-08T12:01:13.252" v="1226" actId="14100"/>
          <ac:spMkLst>
            <pc:docMk/>
            <pc:sldMk cId="4232995729" sldId="646"/>
            <ac:spMk id="2" creationId="{909DC09D-B9A6-4493-9A72-1CA7ECB1F5CA}"/>
          </ac:spMkLst>
        </pc:spChg>
      </pc:sldChg>
      <pc:sldChg chg="add del ord">
        <pc:chgData name="Thomas Stensitzki" userId="75cafe6b-2f2a-469b-85c4-eec3b9c972ba" providerId="ADAL" clId="{81A95A3F-591B-4915-9F30-386F1902D115}" dt="2022-06-08T12:06:36.768" v="1288" actId="47"/>
        <pc:sldMkLst>
          <pc:docMk/>
          <pc:sldMk cId="3947433637" sldId="647"/>
        </pc:sldMkLst>
      </pc:sldChg>
      <pc:sldChg chg="modSp add mod ord">
        <pc:chgData name="Thomas Stensitzki" userId="75cafe6b-2f2a-469b-85c4-eec3b9c972ba" providerId="ADAL" clId="{81A95A3F-591B-4915-9F30-386F1902D115}" dt="2022-06-08T12:01:52.579" v="1237" actId="1036"/>
        <pc:sldMkLst>
          <pc:docMk/>
          <pc:sldMk cId="1507941917" sldId="648"/>
        </pc:sldMkLst>
        <pc:spChg chg="mod">
          <ac:chgData name="Thomas Stensitzki" userId="75cafe6b-2f2a-469b-85c4-eec3b9c972ba" providerId="ADAL" clId="{81A95A3F-591B-4915-9F30-386F1902D115}" dt="2022-06-08T12:01:52.579" v="1237" actId="1036"/>
          <ac:spMkLst>
            <pc:docMk/>
            <pc:sldMk cId="1507941917" sldId="648"/>
            <ac:spMk id="2" creationId="{909DC09D-B9A6-4493-9A72-1CA7ECB1F5CA}"/>
          </ac:spMkLst>
        </pc:spChg>
      </pc:sldChg>
      <pc:sldChg chg="modSp add mod">
        <pc:chgData name="Thomas Stensitzki" userId="75cafe6b-2f2a-469b-85c4-eec3b9c972ba" providerId="ADAL" clId="{81A95A3F-591B-4915-9F30-386F1902D115}" dt="2022-06-08T12:02:04.703" v="1239" actId="1076"/>
        <pc:sldMkLst>
          <pc:docMk/>
          <pc:sldMk cId="1632744645" sldId="649"/>
        </pc:sldMkLst>
        <pc:spChg chg="mod">
          <ac:chgData name="Thomas Stensitzki" userId="75cafe6b-2f2a-469b-85c4-eec3b9c972ba" providerId="ADAL" clId="{81A95A3F-591B-4915-9F30-386F1902D115}" dt="2022-06-08T12:02:04.703" v="1239" actId="1076"/>
          <ac:spMkLst>
            <pc:docMk/>
            <pc:sldMk cId="1632744645" sldId="649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81A95A3F-591B-4915-9F30-386F1902D115}" dt="2022-06-08T12:02:13.487" v="1243" actId="1076"/>
        <pc:sldMkLst>
          <pc:docMk/>
          <pc:sldMk cId="2904891794" sldId="650"/>
        </pc:sldMkLst>
        <pc:spChg chg="mod">
          <ac:chgData name="Thomas Stensitzki" userId="75cafe6b-2f2a-469b-85c4-eec3b9c972ba" providerId="ADAL" clId="{81A95A3F-591B-4915-9F30-386F1902D115}" dt="2022-06-08T12:02:13.487" v="1243" actId="1076"/>
          <ac:spMkLst>
            <pc:docMk/>
            <pc:sldMk cId="2904891794" sldId="650"/>
            <ac:spMk id="2" creationId="{909DC09D-B9A6-4493-9A72-1CA7ECB1F5CA}"/>
          </ac:spMkLst>
        </pc:spChg>
      </pc:sldChg>
      <pc:sldChg chg="modSp add mod">
        <pc:chgData name="Thomas Stensitzki" userId="75cafe6b-2f2a-469b-85c4-eec3b9c972ba" providerId="ADAL" clId="{81A95A3F-591B-4915-9F30-386F1902D115}" dt="2022-06-08T12:02:24.113" v="1246" actId="1035"/>
        <pc:sldMkLst>
          <pc:docMk/>
          <pc:sldMk cId="448268979" sldId="651"/>
        </pc:sldMkLst>
        <pc:spChg chg="mod">
          <ac:chgData name="Thomas Stensitzki" userId="75cafe6b-2f2a-469b-85c4-eec3b9c972ba" providerId="ADAL" clId="{81A95A3F-591B-4915-9F30-386F1902D115}" dt="2022-06-08T12:02:24.113" v="1246" actId="1035"/>
          <ac:spMkLst>
            <pc:docMk/>
            <pc:sldMk cId="448268979" sldId="651"/>
            <ac:spMk id="2" creationId="{909DC09D-B9A6-4493-9A72-1CA7ECB1F5CA}"/>
          </ac:spMkLst>
        </pc:spChg>
      </pc:sldChg>
    </pc:docChg>
  </pc:docChgLst>
  <pc:docChgLst>
    <pc:chgData name="Thomas Stensitzki" userId="75cafe6b-2f2a-469b-85c4-eec3b9c972ba" providerId="ADAL" clId="{CC54F8A9-7FC0-4CB0-B32E-A2A3196CB257}"/>
    <pc:docChg chg="undo custSel addSld delSld modSld sldOrd modSection">
      <pc:chgData name="Thomas Stensitzki" userId="75cafe6b-2f2a-469b-85c4-eec3b9c972ba" providerId="ADAL" clId="{CC54F8A9-7FC0-4CB0-B32E-A2A3196CB257}" dt="2020-11-12T19:11:13.100" v="52"/>
      <pc:docMkLst>
        <pc:docMk/>
      </pc:docMkLst>
      <pc:sldChg chg="modSp add del mod">
        <pc:chgData name="Thomas Stensitzki" userId="75cafe6b-2f2a-469b-85c4-eec3b9c972ba" providerId="ADAL" clId="{CC54F8A9-7FC0-4CB0-B32E-A2A3196CB257}" dt="2020-11-12T19:11:13.100" v="52"/>
        <pc:sldMkLst>
          <pc:docMk/>
          <pc:sldMk cId="2855324227" sldId="257"/>
        </pc:sldMkLst>
        <pc:graphicFrameChg chg="mod modGraphic">
          <ac:chgData name="Thomas Stensitzki" userId="75cafe6b-2f2a-469b-85c4-eec3b9c972ba" providerId="ADAL" clId="{CC54F8A9-7FC0-4CB0-B32E-A2A3196CB257}" dt="2020-11-12T19:11:13.100" v="52"/>
          <ac:graphicFrameMkLst>
            <pc:docMk/>
            <pc:sldMk cId="2855324227" sldId="257"/>
            <ac:graphicFrameMk id="6" creationId="{0F955DCC-462D-431D-BBDE-26F10687D590}"/>
          </ac:graphicFrameMkLst>
        </pc:graphicFrameChg>
      </pc:sldChg>
      <pc:sldChg chg="modSp mod">
        <pc:chgData name="Thomas Stensitzki" userId="75cafe6b-2f2a-469b-85c4-eec3b9c972ba" providerId="ADAL" clId="{CC54F8A9-7FC0-4CB0-B32E-A2A3196CB257}" dt="2020-11-10T19:12:45.211" v="23" actId="6549"/>
        <pc:sldMkLst>
          <pc:docMk/>
          <pc:sldMk cId="2698998357" sldId="260"/>
        </pc:sldMkLst>
        <pc:spChg chg="mod">
          <ac:chgData name="Thomas Stensitzki" userId="75cafe6b-2f2a-469b-85c4-eec3b9c972ba" providerId="ADAL" clId="{CC54F8A9-7FC0-4CB0-B32E-A2A3196CB257}" dt="2020-11-10T19:12:45.211" v="23" actId="6549"/>
          <ac:spMkLst>
            <pc:docMk/>
            <pc:sldMk cId="2698998357" sldId="260"/>
            <ac:spMk id="5" creationId="{F3459BE7-1731-4733-A912-12977C68CFD6}"/>
          </ac:spMkLst>
        </pc:spChg>
      </pc:sldChg>
      <pc:sldChg chg="addSp delSp mod">
        <pc:chgData name="Thomas Stensitzki" userId="75cafe6b-2f2a-469b-85c4-eec3b9c972ba" providerId="ADAL" clId="{CC54F8A9-7FC0-4CB0-B32E-A2A3196CB257}" dt="2020-11-12T18:18:08.525" v="27" actId="22"/>
        <pc:sldMkLst>
          <pc:docMk/>
          <pc:sldMk cId="466045460" sldId="296"/>
        </pc:sldMkLst>
        <pc:spChg chg="add del">
          <ac:chgData name="Thomas Stensitzki" userId="75cafe6b-2f2a-469b-85c4-eec3b9c972ba" providerId="ADAL" clId="{CC54F8A9-7FC0-4CB0-B32E-A2A3196CB257}" dt="2020-11-12T18:18:08.525" v="27" actId="22"/>
          <ac:spMkLst>
            <pc:docMk/>
            <pc:sldMk cId="466045460" sldId="296"/>
            <ac:spMk id="5" creationId="{18743737-D4F6-4765-ADA6-F2A5A1B799B1}"/>
          </ac:spMkLst>
        </pc:spChg>
      </pc:sldChg>
      <pc:sldChg chg="del mod modShow">
        <pc:chgData name="Thomas Stensitzki" userId="75cafe6b-2f2a-469b-85c4-eec3b9c972ba" providerId="ADAL" clId="{CC54F8A9-7FC0-4CB0-B32E-A2A3196CB257}" dt="2020-11-12T18:17:34.922" v="25" actId="2696"/>
        <pc:sldMkLst>
          <pc:docMk/>
          <pc:sldMk cId="3714862591" sldId="351"/>
        </pc:sldMkLst>
      </pc:sldChg>
      <pc:sldChg chg="modSp add mod ord">
        <pc:chgData name="Thomas Stensitzki" userId="75cafe6b-2f2a-469b-85c4-eec3b9c972ba" providerId="ADAL" clId="{CC54F8A9-7FC0-4CB0-B32E-A2A3196CB257}" dt="2020-11-12T19:10:30.813" v="50" actId="20577"/>
        <pc:sldMkLst>
          <pc:docMk/>
          <pc:sldMk cId="838709494" sldId="376"/>
        </pc:sldMkLst>
        <pc:graphicFrameChg chg="modGraphic">
          <ac:chgData name="Thomas Stensitzki" userId="75cafe6b-2f2a-469b-85c4-eec3b9c972ba" providerId="ADAL" clId="{CC54F8A9-7FC0-4CB0-B32E-A2A3196CB257}" dt="2020-11-12T19:10:30.813" v="50" actId="20577"/>
          <ac:graphicFrameMkLst>
            <pc:docMk/>
            <pc:sldMk cId="838709494" sldId="376"/>
            <ac:graphicFrameMk id="6" creationId="{0F955DCC-462D-431D-BBDE-26F10687D590}"/>
          </ac:graphicFrameMkLst>
        </pc:graphicFrameChg>
      </pc:sldChg>
    </pc:docChg>
  </pc:docChgLst>
  <pc:docChgLst>
    <pc:chgData name="Thomas Stensitzki" userId="75cafe6b-2f2a-469b-85c4-eec3b9c972ba" providerId="ADAL" clId="{9F9E9FDF-7C61-4792-941E-3BBD6C5DB2FE}"/>
    <pc:docChg chg="undo custSel addSld delSld modSld sldOrd modMainMaster modSection">
      <pc:chgData name="Thomas Stensitzki" userId="75cafe6b-2f2a-469b-85c4-eec3b9c972ba" providerId="ADAL" clId="{9F9E9FDF-7C61-4792-941E-3BBD6C5DB2FE}" dt="2021-02-02T13:19:58.795" v="1851" actId="6549"/>
      <pc:docMkLst>
        <pc:docMk/>
      </pc:docMkLst>
      <pc:sldChg chg="modSp mod modTransition">
        <pc:chgData name="Thomas Stensitzki" userId="75cafe6b-2f2a-469b-85c4-eec3b9c972ba" providerId="ADAL" clId="{9F9E9FDF-7C61-4792-941E-3BBD6C5DB2FE}" dt="2021-02-02T12:16:03.409" v="1540"/>
        <pc:sldMkLst>
          <pc:docMk/>
          <pc:sldMk cId="671489701" sldId="256"/>
        </pc:sldMkLst>
        <pc:spChg chg="mod">
          <ac:chgData name="Thomas Stensitzki" userId="75cafe6b-2f2a-469b-85c4-eec3b9c972ba" providerId="ADAL" clId="{9F9E9FDF-7C61-4792-941E-3BBD6C5DB2FE}" dt="2021-02-01T13:27:49.117" v="16" actId="20577"/>
          <ac:spMkLst>
            <pc:docMk/>
            <pc:sldMk cId="671489701" sldId="256"/>
            <ac:spMk id="3" creationId="{CBA95633-B02D-4A15-A8B1-A38E0A70FD27}"/>
          </ac:spMkLst>
        </pc:spChg>
      </pc:sldChg>
      <pc:sldChg chg="modSp mod modTransition">
        <pc:chgData name="Thomas Stensitzki" userId="75cafe6b-2f2a-469b-85c4-eec3b9c972ba" providerId="ADAL" clId="{9F9E9FDF-7C61-4792-941E-3BBD6C5DB2FE}" dt="2021-02-02T12:16:03.409" v="1540"/>
        <pc:sldMkLst>
          <pc:docMk/>
          <pc:sldMk cId="2855324227" sldId="257"/>
        </pc:sldMkLst>
        <pc:spChg chg="mod">
          <ac:chgData name="Thomas Stensitzki" userId="75cafe6b-2f2a-469b-85c4-eec3b9c972ba" providerId="ADAL" clId="{9F9E9FDF-7C61-4792-941E-3BBD6C5DB2FE}" dt="2021-02-01T13:29:45.139" v="53" actId="20577"/>
          <ac:spMkLst>
            <pc:docMk/>
            <pc:sldMk cId="2855324227" sldId="257"/>
            <ac:spMk id="5" creationId="{EE6719E1-4DB6-4D58-BA77-937CF975247C}"/>
          </ac:spMkLst>
        </pc:spChg>
        <pc:graphicFrameChg chg="mod modGraphic">
          <ac:chgData name="Thomas Stensitzki" userId="75cafe6b-2f2a-469b-85c4-eec3b9c972ba" providerId="ADAL" clId="{9F9E9FDF-7C61-4792-941E-3BBD6C5DB2FE}" dt="2021-02-01T16:04:37.874" v="61"/>
          <ac:graphicFrameMkLst>
            <pc:docMk/>
            <pc:sldMk cId="2855324227" sldId="257"/>
            <ac:graphicFrameMk id="6" creationId="{0F955DCC-462D-431D-BBDE-26F10687D590}"/>
          </ac:graphicFrameMkLst>
        </pc:graphicFrameChg>
      </pc:sldChg>
      <pc:sldChg chg="modSp mod ord modTransition">
        <pc:chgData name="Thomas Stensitzki" userId="75cafe6b-2f2a-469b-85c4-eec3b9c972ba" providerId="ADAL" clId="{9F9E9FDF-7C61-4792-941E-3BBD6C5DB2FE}" dt="2021-02-02T12:16:03.409" v="1540"/>
        <pc:sldMkLst>
          <pc:docMk/>
          <pc:sldMk cId="3332792154" sldId="258"/>
        </pc:sldMkLst>
        <pc:spChg chg="mod">
          <ac:chgData name="Thomas Stensitzki" userId="75cafe6b-2f2a-469b-85c4-eec3b9c972ba" providerId="ADAL" clId="{9F9E9FDF-7C61-4792-941E-3BBD6C5DB2FE}" dt="2021-02-01T16:10:23.253" v="411" actId="20577"/>
          <ac:spMkLst>
            <pc:docMk/>
            <pc:sldMk cId="3332792154" sldId="258"/>
            <ac:spMk id="3" creationId="{3A5A44EB-7FB9-473A-8ED3-C49DDD2E65AB}"/>
          </ac:spMkLst>
        </pc:spChg>
      </pc:sldChg>
      <pc:sldChg chg="modTransition">
        <pc:chgData name="Thomas Stensitzki" userId="75cafe6b-2f2a-469b-85c4-eec3b9c972ba" providerId="ADAL" clId="{9F9E9FDF-7C61-4792-941E-3BBD6C5DB2FE}" dt="2021-02-02T12:16:03.409" v="1540"/>
        <pc:sldMkLst>
          <pc:docMk/>
          <pc:sldMk cId="1545829058" sldId="259"/>
        </pc:sldMkLst>
      </pc:sldChg>
      <pc:sldChg chg="modSp mod modTransition">
        <pc:chgData name="Thomas Stensitzki" userId="75cafe6b-2f2a-469b-85c4-eec3b9c972ba" providerId="ADAL" clId="{9F9E9FDF-7C61-4792-941E-3BBD6C5DB2FE}" dt="2021-02-02T12:16:03.409" v="1540"/>
        <pc:sldMkLst>
          <pc:docMk/>
          <pc:sldMk cId="2698998357" sldId="260"/>
        </pc:sldMkLst>
        <pc:spChg chg="mod">
          <ac:chgData name="Thomas Stensitzki" userId="75cafe6b-2f2a-469b-85c4-eec3b9c972ba" providerId="ADAL" clId="{9F9E9FDF-7C61-4792-941E-3BBD6C5DB2FE}" dt="2021-02-01T16:03:10.522" v="55"/>
          <ac:spMkLst>
            <pc:docMk/>
            <pc:sldMk cId="2698998357" sldId="260"/>
            <ac:spMk id="4" creationId="{F3A15CBD-C746-44A3-A4F0-4898CE2F02E6}"/>
          </ac:spMkLst>
        </pc:spChg>
        <pc:spChg chg="mod">
          <ac:chgData name="Thomas Stensitzki" userId="75cafe6b-2f2a-469b-85c4-eec3b9c972ba" providerId="ADAL" clId="{9F9E9FDF-7C61-4792-941E-3BBD6C5DB2FE}" dt="2021-02-01T16:04:18.898" v="60"/>
          <ac:spMkLst>
            <pc:docMk/>
            <pc:sldMk cId="2698998357" sldId="260"/>
            <ac:spMk id="5" creationId="{F3459BE7-1731-4733-A912-12977C68CFD6}"/>
          </ac:spMkLst>
        </pc:spChg>
      </pc:sldChg>
      <pc:sldChg chg="modTransition">
        <pc:chgData name="Thomas Stensitzki" userId="75cafe6b-2f2a-469b-85c4-eec3b9c972ba" providerId="ADAL" clId="{9F9E9FDF-7C61-4792-941E-3BBD6C5DB2FE}" dt="2021-02-02T12:16:03.409" v="1540"/>
        <pc:sldMkLst>
          <pc:docMk/>
          <pc:sldMk cId="4007670073" sldId="268"/>
        </pc:sldMkLst>
      </pc:sldChg>
      <pc:sldChg chg="delSp modSp mod ord modTransition">
        <pc:chgData name="Thomas Stensitzki" userId="75cafe6b-2f2a-469b-85c4-eec3b9c972ba" providerId="ADAL" clId="{9F9E9FDF-7C61-4792-941E-3BBD6C5DB2FE}" dt="2021-02-02T12:16:03.409" v="1540"/>
        <pc:sldMkLst>
          <pc:docMk/>
          <pc:sldMk cId="2721051844" sldId="269"/>
        </pc:sldMkLst>
        <pc:spChg chg="del">
          <ac:chgData name="Thomas Stensitzki" userId="75cafe6b-2f2a-469b-85c4-eec3b9c972ba" providerId="ADAL" clId="{9F9E9FDF-7C61-4792-941E-3BBD6C5DB2FE}" dt="2021-02-01T16:27:24.006" v="417" actId="478"/>
          <ac:spMkLst>
            <pc:docMk/>
            <pc:sldMk cId="2721051844" sldId="269"/>
            <ac:spMk id="2" creationId="{909DC09D-B9A6-4493-9A72-1CA7ECB1F5CA}"/>
          </ac:spMkLst>
        </pc:spChg>
        <pc:spChg chg="mod">
          <ac:chgData name="Thomas Stensitzki" userId="75cafe6b-2f2a-469b-85c4-eec3b9c972ba" providerId="ADAL" clId="{9F9E9FDF-7C61-4792-941E-3BBD6C5DB2FE}" dt="2021-02-01T16:27:28.592" v="429" actId="20577"/>
          <ac:spMkLst>
            <pc:docMk/>
            <pc:sldMk cId="2721051844" sldId="269"/>
            <ac:spMk id="4" creationId="{D12969B4-351A-4517-A5B8-3E6AD9CDB206}"/>
          </ac:spMkLst>
        </pc:spChg>
        <pc:spChg chg="mod">
          <ac:chgData name="Thomas Stensitzki" userId="75cafe6b-2f2a-469b-85c4-eec3b9c972ba" providerId="ADAL" clId="{9F9E9FDF-7C61-4792-941E-3BBD6C5DB2FE}" dt="2021-02-01T16:28:27.905" v="505" actId="20577"/>
          <ac:spMkLst>
            <pc:docMk/>
            <pc:sldMk cId="2721051844" sldId="269"/>
            <ac:spMk id="5" creationId="{C24DACB5-1BEC-4C86-9652-BAFD8DE56FEF}"/>
          </ac:spMkLst>
        </pc:spChg>
      </pc:sldChg>
      <pc:sldChg chg="modTransition">
        <pc:chgData name="Thomas Stensitzki" userId="75cafe6b-2f2a-469b-85c4-eec3b9c972ba" providerId="ADAL" clId="{9F9E9FDF-7C61-4792-941E-3BBD6C5DB2FE}" dt="2021-02-02T12:16:03.409" v="1540"/>
        <pc:sldMkLst>
          <pc:docMk/>
          <pc:sldMk cId="1928334901" sldId="295"/>
        </pc:sldMkLst>
      </pc:sldChg>
      <pc:sldChg chg="modSp mod modTransition">
        <pc:chgData name="Thomas Stensitzki" userId="75cafe6b-2f2a-469b-85c4-eec3b9c972ba" providerId="ADAL" clId="{9F9E9FDF-7C61-4792-941E-3BBD6C5DB2FE}" dt="2021-02-02T12:16:03.409" v="1540"/>
        <pc:sldMkLst>
          <pc:docMk/>
          <pc:sldMk cId="466045460" sldId="296"/>
        </pc:sldMkLst>
        <pc:spChg chg="mod">
          <ac:chgData name="Thomas Stensitzki" userId="75cafe6b-2f2a-469b-85c4-eec3b9c972ba" providerId="ADAL" clId="{9F9E9FDF-7C61-4792-941E-3BBD6C5DB2FE}" dt="2021-02-02T12:11:23.870" v="1528" actId="6549"/>
          <ac:spMkLst>
            <pc:docMk/>
            <pc:sldMk cId="466045460" sldId="296"/>
            <ac:spMk id="3" creationId="{3DE143F2-5A09-45BF-B00B-7298420C5BE2}"/>
          </ac:spMkLst>
        </pc:spChg>
      </pc:sldChg>
      <pc:sldChg chg="modSp mod modTransition">
        <pc:chgData name="Thomas Stensitzki" userId="75cafe6b-2f2a-469b-85c4-eec3b9c972ba" providerId="ADAL" clId="{9F9E9FDF-7C61-4792-941E-3BBD6C5DB2FE}" dt="2021-02-02T12:16:03.409" v="1540"/>
        <pc:sldMkLst>
          <pc:docMk/>
          <pc:sldMk cId="53967156" sldId="297"/>
        </pc:sldMkLst>
        <pc:spChg chg="mod">
          <ac:chgData name="Thomas Stensitzki" userId="75cafe6b-2f2a-469b-85c4-eec3b9c972ba" providerId="ADAL" clId="{9F9E9FDF-7C61-4792-941E-3BBD6C5DB2FE}" dt="2021-02-01T16:04:47.851" v="62"/>
          <ac:spMkLst>
            <pc:docMk/>
            <pc:sldMk cId="53967156" sldId="297"/>
            <ac:spMk id="4" creationId="{F3A15CBD-C746-44A3-A4F0-4898CE2F02E6}"/>
          </ac:spMkLst>
        </pc:spChg>
        <pc:spChg chg="mod">
          <ac:chgData name="Thomas Stensitzki" userId="75cafe6b-2f2a-469b-85c4-eec3b9c972ba" providerId="ADAL" clId="{9F9E9FDF-7C61-4792-941E-3BBD6C5DB2FE}" dt="2021-02-01T16:05:19.815" v="67" actId="27636"/>
          <ac:spMkLst>
            <pc:docMk/>
            <pc:sldMk cId="53967156" sldId="297"/>
            <ac:spMk id="5" creationId="{F3459BE7-1731-4733-A912-12977C68CFD6}"/>
          </ac:spMkLst>
        </pc:spChg>
      </pc:sldChg>
      <pc:sldChg chg="modTransition">
        <pc:chgData name="Thomas Stensitzki" userId="75cafe6b-2f2a-469b-85c4-eec3b9c972ba" providerId="ADAL" clId="{9F9E9FDF-7C61-4792-941E-3BBD6C5DB2FE}" dt="2021-02-02T12:16:03.409" v="1540"/>
        <pc:sldMkLst>
          <pc:docMk/>
          <pc:sldMk cId="2814967912" sldId="311"/>
        </pc:sldMkLst>
      </pc:sldChg>
      <pc:sldChg chg="modSp mod modTransition modAnim">
        <pc:chgData name="Thomas Stensitzki" userId="75cafe6b-2f2a-469b-85c4-eec3b9c972ba" providerId="ADAL" clId="{9F9E9FDF-7C61-4792-941E-3BBD6C5DB2FE}" dt="2021-02-02T12:16:03.409" v="1540"/>
        <pc:sldMkLst>
          <pc:docMk/>
          <pc:sldMk cId="222169851" sldId="312"/>
        </pc:sldMkLst>
        <pc:spChg chg="mod">
          <ac:chgData name="Thomas Stensitzki" userId="75cafe6b-2f2a-469b-85c4-eec3b9c972ba" providerId="ADAL" clId="{9F9E9FDF-7C61-4792-941E-3BBD6C5DB2FE}" dt="2021-02-01T16:09:23.104" v="348" actId="20577"/>
          <ac:spMkLst>
            <pc:docMk/>
            <pc:sldMk cId="222169851" sldId="312"/>
            <ac:spMk id="5" creationId="{E4B561B6-C0CF-43D8-8BC7-F305B96C47C8}"/>
          </ac:spMkLst>
        </pc:spChg>
      </pc:sldChg>
      <pc:sldChg chg="modTransition">
        <pc:chgData name="Thomas Stensitzki" userId="75cafe6b-2f2a-469b-85c4-eec3b9c972ba" providerId="ADAL" clId="{9F9E9FDF-7C61-4792-941E-3BBD6C5DB2FE}" dt="2021-02-02T12:16:03.409" v="1540"/>
        <pc:sldMkLst>
          <pc:docMk/>
          <pc:sldMk cId="726195275" sldId="313"/>
        </pc:sldMkLst>
      </pc:sldChg>
      <pc:sldChg chg="del">
        <pc:chgData name="Thomas Stensitzki" userId="75cafe6b-2f2a-469b-85c4-eec3b9c972ba" providerId="ADAL" clId="{9F9E9FDF-7C61-4792-941E-3BBD6C5DB2FE}" dt="2021-02-01T16:30:25.532" v="513" actId="47"/>
        <pc:sldMkLst>
          <pc:docMk/>
          <pc:sldMk cId="3686415854" sldId="336"/>
        </pc:sldMkLst>
      </pc:sldChg>
      <pc:sldChg chg="del">
        <pc:chgData name="Thomas Stensitzki" userId="75cafe6b-2f2a-469b-85c4-eec3b9c972ba" providerId="ADAL" clId="{9F9E9FDF-7C61-4792-941E-3BBD6C5DB2FE}" dt="2021-02-01T16:30:18.702" v="512" actId="47"/>
        <pc:sldMkLst>
          <pc:docMk/>
          <pc:sldMk cId="3622499056" sldId="337"/>
        </pc:sldMkLst>
      </pc:sldChg>
      <pc:sldChg chg="del">
        <pc:chgData name="Thomas Stensitzki" userId="75cafe6b-2f2a-469b-85c4-eec3b9c972ba" providerId="ADAL" clId="{9F9E9FDF-7C61-4792-941E-3BBD6C5DB2FE}" dt="2021-02-01T16:29:52.267" v="508" actId="47"/>
        <pc:sldMkLst>
          <pc:docMk/>
          <pc:sldMk cId="3181094570" sldId="338"/>
        </pc:sldMkLst>
      </pc:sldChg>
      <pc:sldChg chg="del">
        <pc:chgData name="Thomas Stensitzki" userId="75cafe6b-2f2a-469b-85c4-eec3b9c972ba" providerId="ADAL" clId="{9F9E9FDF-7C61-4792-941E-3BBD6C5DB2FE}" dt="2021-02-01T16:30:18.702" v="512" actId="47"/>
        <pc:sldMkLst>
          <pc:docMk/>
          <pc:sldMk cId="1736096156" sldId="339"/>
        </pc:sldMkLst>
      </pc:sldChg>
      <pc:sldChg chg="del">
        <pc:chgData name="Thomas Stensitzki" userId="75cafe6b-2f2a-469b-85c4-eec3b9c972ba" providerId="ADAL" clId="{9F9E9FDF-7C61-4792-941E-3BBD6C5DB2FE}" dt="2021-02-01T16:30:18.702" v="512" actId="47"/>
        <pc:sldMkLst>
          <pc:docMk/>
          <pc:sldMk cId="1438636221" sldId="340"/>
        </pc:sldMkLst>
      </pc:sldChg>
      <pc:sldChg chg="del">
        <pc:chgData name="Thomas Stensitzki" userId="75cafe6b-2f2a-469b-85c4-eec3b9c972ba" providerId="ADAL" clId="{9F9E9FDF-7C61-4792-941E-3BBD6C5DB2FE}" dt="2021-02-01T16:30:18.702" v="512" actId="47"/>
        <pc:sldMkLst>
          <pc:docMk/>
          <pc:sldMk cId="2410740870" sldId="341"/>
        </pc:sldMkLst>
      </pc:sldChg>
      <pc:sldChg chg="del">
        <pc:chgData name="Thomas Stensitzki" userId="75cafe6b-2f2a-469b-85c4-eec3b9c972ba" providerId="ADAL" clId="{9F9E9FDF-7C61-4792-941E-3BBD6C5DB2FE}" dt="2021-02-01T16:29:52.267" v="508" actId="47"/>
        <pc:sldMkLst>
          <pc:docMk/>
          <pc:sldMk cId="2725752728" sldId="342"/>
        </pc:sldMkLst>
      </pc:sldChg>
      <pc:sldChg chg="del">
        <pc:chgData name="Thomas Stensitzki" userId="75cafe6b-2f2a-469b-85c4-eec3b9c972ba" providerId="ADAL" clId="{9F9E9FDF-7C61-4792-941E-3BBD6C5DB2FE}" dt="2021-02-01T16:29:52.267" v="508" actId="47"/>
        <pc:sldMkLst>
          <pc:docMk/>
          <pc:sldMk cId="3280483003" sldId="343"/>
        </pc:sldMkLst>
      </pc:sldChg>
      <pc:sldChg chg="del">
        <pc:chgData name="Thomas Stensitzki" userId="75cafe6b-2f2a-469b-85c4-eec3b9c972ba" providerId="ADAL" clId="{9F9E9FDF-7C61-4792-941E-3BBD6C5DB2FE}" dt="2021-02-01T16:29:52.267" v="508" actId="47"/>
        <pc:sldMkLst>
          <pc:docMk/>
          <pc:sldMk cId="3213675464" sldId="344"/>
        </pc:sldMkLst>
      </pc:sldChg>
      <pc:sldChg chg="del">
        <pc:chgData name="Thomas Stensitzki" userId="75cafe6b-2f2a-469b-85c4-eec3b9c972ba" providerId="ADAL" clId="{9F9E9FDF-7C61-4792-941E-3BBD6C5DB2FE}" dt="2021-02-01T16:29:52.267" v="508" actId="47"/>
        <pc:sldMkLst>
          <pc:docMk/>
          <pc:sldMk cId="4202633353" sldId="345"/>
        </pc:sldMkLst>
      </pc:sldChg>
      <pc:sldChg chg="del">
        <pc:chgData name="Thomas Stensitzki" userId="75cafe6b-2f2a-469b-85c4-eec3b9c972ba" providerId="ADAL" clId="{9F9E9FDF-7C61-4792-941E-3BBD6C5DB2FE}" dt="2021-02-01T16:29:55.666" v="509" actId="47"/>
        <pc:sldMkLst>
          <pc:docMk/>
          <pc:sldMk cId="788060859" sldId="346"/>
        </pc:sldMkLst>
      </pc:sldChg>
      <pc:sldChg chg="del">
        <pc:chgData name="Thomas Stensitzki" userId="75cafe6b-2f2a-469b-85c4-eec3b9c972ba" providerId="ADAL" clId="{9F9E9FDF-7C61-4792-941E-3BBD6C5DB2FE}" dt="2021-02-01T16:29:55.666" v="509" actId="47"/>
        <pc:sldMkLst>
          <pc:docMk/>
          <pc:sldMk cId="188222015" sldId="347"/>
        </pc:sldMkLst>
      </pc:sldChg>
      <pc:sldChg chg="del">
        <pc:chgData name="Thomas Stensitzki" userId="75cafe6b-2f2a-469b-85c4-eec3b9c972ba" providerId="ADAL" clId="{9F9E9FDF-7C61-4792-941E-3BBD6C5DB2FE}" dt="2021-02-01T16:30:06.697" v="510" actId="47"/>
        <pc:sldMkLst>
          <pc:docMk/>
          <pc:sldMk cId="1623484320" sldId="348"/>
        </pc:sldMkLst>
      </pc:sldChg>
      <pc:sldChg chg="del">
        <pc:chgData name="Thomas Stensitzki" userId="75cafe6b-2f2a-469b-85c4-eec3b9c972ba" providerId="ADAL" clId="{9F9E9FDF-7C61-4792-941E-3BBD6C5DB2FE}" dt="2021-02-01T16:30:06.697" v="510" actId="47"/>
        <pc:sldMkLst>
          <pc:docMk/>
          <pc:sldMk cId="3468971604" sldId="349"/>
        </pc:sldMkLst>
      </pc:sldChg>
      <pc:sldChg chg="del">
        <pc:chgData name="Thomas Stensitzki" userId="75cafe6b-2f2a-469b-85c4-eec3b9c972ba" providerId="ADAL" clId="{9F9E9FDF-7C61-4792-941E-3BBD6C5DB2FE}" dt="2021-02-01T16:30:06.697" v="510" actId="47"/>
        <pc:sldMkLst>
          <pc:docMk/>
          <pc:sldMk cId="1727630022" sldId="350"/>
        </pc:sldMkLst>
      </pc:sldChg>
      <pc:sldChg chg="del">
        <pc:chgData name="Thomas Stensitzki" userId="75cafe6b-2f2a-469b-85c4-eec3b9c972ba" providerId="ADAL" clId="{9F9E9FDF-7C61-4792-941E-3BBD6C5DB2FE}" dt="2021-02-01T16:30:06.697" v="510" actId="47"/>
        <pc:sldMkLst>
          <pc:docMk/>
          <pc:sldMk cId="901964799" sldId="352"/>
        </pc:sldMkLst>
      </pc:sldChg>
      <pc:sldChg chg="del">
        <pc:chgData name="Thomas Stensitzki" userId="75cafe6b-2f2a-469b-85c4-eec3b9c972ba" providerId="ADAL" clId="{9F9E9FDF-7C61-4792-941E-3BBD6C5DB2FE}" dt="2021-02-01T16:30:06.697" v="510" actId="47"/>
        <pc:sldMkLst>
          <pc:docMk/>
          <pc:sldMk cId="2439788833" sldId="353"/>
        </pc:sldMkLst>
      </pc:sldChg>
      <pc:sldChg chg="del">
        <pc:chgData name="Thomas Stensitzki" userId="75cafe6b-2f2a-469b-85c4-eec3b9c972ba" providerId="ADAL" clId="{9F9E9FDF-7C61-4792-941E-3BBD6C5DB2FE}" dt="2021-02-01T16:30:06.697" v="510" actId="47"/>
        <pc:sldMkLst>
          <pc:docMk/>
          <pc:sldMk cId="4123441300" sldId="354"/>
        </pc:sldMkLst>
      </pc:sldChg>
      <pc:sldChg chg="del">
        <pc:chgData name="Thomas Stensitzki" userId="75cafe6b-2f2a-469b-85c4-eec3b9c972ba" providerId="ADAL" clId="{9F9E9FDF-7C61-4792-941E-3BBD6C5DB2FE}" dt="2021-02-01T16:30:10.666" v="511" actId="47"/>
        <pc:sldMkLst>
          <pc:docMk/>
          <pc:sldMk cId="3193010953" sldId="355"/>
        </pc:sldMkLst>
      </pc:sldChg>
      <pc:sldChg chg="del">
        <pc:chgData name="Thomas Stensitzki" userId="75cafe6b-2f2a-469b-85c4-eec3b9c972ba" providerId="ADAL" clId="{9F9E9FDF-7C61-4792-941E-3BBD6C5DB2FE}" dt="2021-02-01T16:29:52.267" v="508" actId="47"/>
        <pc:sldMkLst>
          <pc:docMk/>
          <pc:sldMk cId="4104014147" sldId="356"/>
        </pc:sldMkLst>
      </pc:sldChg>
      <pc:sldChg chg="del">
        <pc:chgData name="Thomas Stensitzki" userId="75cafe6b-2f2a-469b-85c4-eec3b9c972ba" providerId="ADAL" clId="{9F9E9FDF-7C61-4792-941E-3BBD6C5DB2FE}" dt="2021-02-01T16:29:52.267" v="508" actId="47"/>
        <pc:sldMkLst>
          <pc:docMk/>
          <pc:sldMk cId="2354451857" sldId="357"/>
        </pc:sldMkLst>
      </pc:sldChg>
      <pc:sldChg chg="del">
        <pc:chgData name="Thomas Stensitzki" userId="75cafe6b-2f2a-469b-85c4-eec3b9c972ba" providerId="ADAL" clId="{9F9E9FDF-7C61-4792-941E-3BBD6C5DB2FE}" dt="2021-02-01T16:29:52.267" v="508" actId="47"/>
        <pc:sldMkLst>
          <pc:docMk/>
          <pc:sldMk cId="149641114" sldId="358"/>
        </pc:sldMkLst>
      </pc:sldChg>
      <pc:sldChg chg="del">
        <pc:chgData name="Thomas Stensitzki" userId="75cafe6b-2f2a-469b-85c4-eec3b9c972ba" providerId="ADAL" clId="{9F9E9FDF-7C61-4792-941E-3BBD6C5DB2FE}" dt="2021-02-01T16:29:52.267" v="508" actId="47"/>
        <pc:sldMkLst>
          <pc:docMk/>
          <pc:sldMk cId="2224730637" sldId="359"/>
        </pc:sldMkLst>
      </pc:sldChg>
      <pc:sldChg chg="del">
        <pc:chgData name="Thomas Stensitzki" userId="75cafe6b-2f2a-469b-85c4-eec3b9c972ba" providerId="ADAL" clId="{9F9E9FDF-7C61-4792-941E-3BBD6C5DB2FE}" dt="2021-02-01T16:29:52.267" v="508" actId="47"/>
        <pc:sldMkLst>
          <pc:docMk/>
          <pc:sldMk cId="2874601603" sldId="360"/>
        </pc:sldMkLst>
      </pc:sldChg>
      <pc:sldChg chg="del">
        <pc:chgData name="Thomas Stensitzki" userId="75cafe6b-2f2a-469b-85c4-eec3b9c972ba" providerId="ADAL" clId="{9F9E9FDF-7C61-4792-941E-3BBD6C5DB2FE}" dt="2021-02-01T16:29:52.267" v="508" actId="47"/>
        <pc:sldMkLst>
          <pc:docMk/>
          <pc:sldMk cId="2046734869" sldId="361"/>
        </pc:sldMkLst>
      </pc:sldChg>
      <pc:sldChg chg="del">
        <pc:chgData name="Thomas Stensitzki" userId="75cafe6b-2f2a-469b-85c4-eec3b9c972ba" providerId="ADAL" clId="{9F9E9FDF-7C61-4792-941E-3BBD6C5DB2FE}" dt="2021-02-01T16:29:55.666" v="509" actId="47"/>
        <pc:sldMkLst>
          <pc:docMk/>
          <pc:sldMk cId="3266975461" sldId="362"/>
        </pc:sldMkLst>
      </pc:sldChg>
      <pc:sldChg chg="del">
        <pc:chgData name="Thomas Stensitzki" userId="75cafe6b-2f2a-469b-85c4-eec3b9c972ba" providerId="ADAL" clId="{9F9E9FDF-7C61-4792-941E-3BBD6C5DB2FE}" dt="2021-02-01T16:30:06.697" v="510" actId="47"/>
        <pc:sldMkLst>
          <pc:docMk/>
          <pc:sldMk cId="182294517" sldId="363"/>
        </pc:sldMkLst>
      </pc:sldChg>
      <pc:sldChg chg="del">
        <pc:chgData name="Thomas Stensitzki" userId="75cafe6b-2f2a-469b-85c4-eec3b9c972ba" providerId="ADAL" clId="{9F9E9FDF-7C61-4792-941E-3BBD6C5DB2FE}" dt="2021-02-01T16:30:06.697" v="510" actId="47"/>
        <pc:sldMkLst>
          <pc:docMk/>
          <pc:sldMk cId="3020178309" sldId="364"/>
        </pc:sldMkLst>
      </pc:sldChg>
      <pc:sldChg chg="del">
        <pc:chgData name="Thomas Stensitzki" userId="75cafe6b-2f2a-469b-85c4-eec3b9c972ba" providerId="ADAL" clId="{9F9E9FDF-7C61-4792-941E-3BBD6C5DB2FE}" dt="2021-02-01T16:30:06.697" v="510" actId="47"/>
        <pc:sldMkLst>
          <pc:docMk/>
          <pc:sldMk cId="3331174969" sldId="365"/>
        </pc:sldMkLst>
      </pc:sldChg>
      <pc:sldChg chg="del">
        <pc:chgData name="Thomas Stensitzki" userId="75cafe6b-2f2a-469b-85c4-eec3b9c972ba" providerId="ADAL" clId="{9F9E9FDF-7C61-4792-941E-3BBD6C5DB2FE}" dt="2021-02-01T16:30:06.697" v="510" actId="47"/>
        <pc:sldMkLst>
          <pc:docMk/>
          <pc:sldMk cId="107981993" sldId="366"/>
        </pc:sldMkLst>
      </pc:sldChg>
      <pc:sldChg chg="del">
        <pc:chgData name="Thomas Stensitzki" userId="75cafe6b-2f2a-469b-85c4-eec3b9c972ba" providerId="ADAL" clId="{9F9E9FDF-7C61-4792-941E-3BBD6C5DB2FE}" dt="2021-02-01T16:30:06.697" v="510" actId="47"/>
        <pc:sldMkLst>
          <pc:docMk/>
          <pc:sldMk cId="2527187877" sldId="367"/>
        </pc:sldMkLst>
      </pc:sldChg>
      <pc:sldChg chg="del">
        <pc:chgData name="Thomas Stensitzki" userId="75cafe6b-2f2a-469b-85c4-eec3b9c972ba" providerId="ADAL" clId="{9F9E9FDF-7C61-4792-941E-3BBD6C5DB2FE}" dt="2021-02-01T16:30:06.697" v="510" actId="47"/>
        <pc:sldMkLst>
          <pc:docMk/>
          <pc:sldMk cId="1777320957" sldId="368"/>
        </pc:sldMkLst>
      </pc:sldChg>
      <pc:sldChg chg="del">
        <pc:chgData name="Thomas Stensitzki" userId="75cafe6b-2f2a-469b-85c4-eec3b9c972ba" providerId="ADAL" clId="{9F9E9FDF-7C61-4792-941E-3BBD6C5DB2FE}" dt="2021-02-01T16:30:06.697" v="510" actId="47"/>
        <pc:sldMkLst>
          <pc:docMk/>
          <pc:sldMk cId="3450062575" sldId="369"/>
        </pc:sldMkLst>
      </pc:sldChg>
      <pc:sldChg chg="del">
        <pc:chgData name="Thomas Stensitzki" userId="75cafe6b-2f2a-469b-85c4-eec3b9c972ba" providerId="ADAL" clId="{9F9E9FDF-7C61-4792-941E-3BBD6C5DB2FE}" dt="2021-02-01T16:30:10.666" v="511" actId="47"/>
        <pc:sldMkLst>
          <pc:docMk/>
          <pc:sldMk cId="426610277" sldId="370"/>
        </pc:sldMkLst>
      </pc:sldChg>
      <pc:sldChg chg="del">
        <pc:chgData name="Thomas Stensitzki" userId="75cafe6b-2f2a-469b-85c4-eec3b9c972ba" providerId="ADAL" clId="{9F9E9FDF-7C61-4792-941E-3BBD6C5DB2FE}" dt="2021-02-01T16:30:18.702" v="512" actId="47"/>
        <pc:sldMkLst>
          <pc:docMk/>
          <pc:sldMk cId="705138562" sldId="371"/>
        </pc:sldMkLst>
      </pc:sldChg>
      <pc:sldChg chg="addSp delSp modSp mod modTransition modNotesTx">
        <pc:chgData name="Thomas Stensitzki" userId="75cafe6b-2f2a-469b-85c4-eec3b9c972ba" providerId="ADAL" clId="{9F9E9FDF-7C61-4792-941E-3BBD6C5DB2FE}" dt="2021-02-02T13:13:57.391" v="1765" actId="14100"/>
        <pc:sldMkLst>
          <pc:docMk/>
          <pc:sldMk cId="3298503951" sldId="372"/>
        </pc:sldMkLst>
        <pc:spChg chg="mod">
          <ac:chgData name="Thomas Stensitzki" userId="75cafe6b-2f2a-469b-85c4-eec3b9c972ba" providerId="ADAL" clId="{9F9E9FDF-7C61-4792-941E-3BBD6C5DB2FE}" dt="2021-02-02T13:13:57.391" v="1765" actId="14100"/>
          <ac:spMkLst>
            <pc:docMk/>
            <pc:sldMk cId="3298503951" sldId="372"/>
            <ac:spMk id="2" creationId="{909DC09D-B9A6-4493-9A72-1CA7ECB1F5CA}"/>
          </ac:spMkLst>
        </pc:spChg>
        <pc:spChg chg="mod">
          <ac:chgData name="Thomas Stensitzki" userId="75cafe6b-2f2a-469b-85c4-eec3b9c972ba" providerId="ADAL" clId="{9F9E9FDF-7C61-4792-941E-3BBD6C5DB2FE}" dt="2021-02-01T17:09:26.581" v="1100" actId="20577"/>
          <ac:spMkLst>
            <pc:docMk/>
            <pc:sldMk cId="3298503951" sldId="372"/>
            <ac:spMk id="5" creationId="{C24DACB5-1BEC-4C86-9652-BAFD8DE56FEF}"/>
          </ac:spMkLst>
        </pc:spChg>
        <pc:spChg chg="add del mod">
          <ac:chgData name="Thomas Stensitzki" userId="75cafe6b-2f2a-469b-85c4-eec3b9c972ba" providerId="ADAL" clId="{9F9E9FDF-7C61-4792-941E-3BBD6C5DB2FE}" dt="2021-02-01T17:00:55.099" v="953" actId="22"/>
          <ac:spMkLst>
            <pc:docMk/>
            <pc:sldMk cId="3298503951" sldId="372"/>
            <ac:spMk id="6" creationId="{611224E3-1A0D-470E-B9FE-F2BA121DBBCF}"/>
          </ac:spMkLst>
        </pc:spChg>
      </pc:sldChg>
      <pc:sldChg chg="del">
        <pc:chgData name="Thomas Stensitzki" userId="75cafe6b-2f2a-469b-85c4-eec3b9c972ba" providerId="ADAL" clId="{9F9E9FDF-7C61-4792-941E-3BBD6C5DB2FE}" dt="2021-02-01T16:30:18.702" v="512" actId="47"/>
        <pc:sldMkLst>
          <pc:docMk/>
          <pc:sldMk cId="217993370" sldId="373"/>
        </pc:sldMkLst>
      </pc:sldChg>
      <pc:sldChg chg="del">
        <pc:chgData name="Thomas Stensitzki" userId="75cafe6b-2f2a-469b-85c4-eec3b9c972ba" providerId="ADAL" clId="{9F9E9FDF-7C61-4792-941E-3BBD6C5DB2FE}" dt="2021-02-01T16:30:18.702" v="512" actId="47"/>
        <pc:sldMkLst>
          <pc:docMk/>
          <pc:sldMk cId="432380457" sldId="374"/>
        </pc:sldMkLst>
      </pc:sldChg>
      <pc:sldChg chg="del">
        <pc:chgData name="Thomas Stensitzki" userId="75cafe6b-2f2a-469b-85c4-eec3b9c972ba" providerId="ADAL" clId="{9F9E9FDF-7C61-4792-941E-3BBD6C5DB2FE}" dt="2021-02-01T16:30:18.702" v="512" actId="47"/>
        <pc:sldMkLst>
          <pc:docMk/>
          <pc:sldMk cId="2872056675" sldId="375"/>
        </pc:sldMkLst>
      </pc:sldChg>
      <pc:sldChg chg="modSp del mod">
        <pc:chgData name="Thomas Stensitzki" userId="75cafe6b-2f2a-469b-85c4-eec3b9c972ba" providerId="ADAL" clId="{9F9E9FDF-7C61-4792-941E-3BBD6C5DB2FE}" dt="2021-02-01T16:11:00.582" v="415" actId="47"/>
        <pc:sldMkLst>
          <pc:docMk/>
          <pc:sldMk cId="838709494" sldId="376"/>
        </pc:sldMkLst>
        <pc:graphicFrameChg chg="mod modGraphic">
          <ac:chgData name="Thomas Stensitzki" userId="75cafe6b-2f2a-469b-85c4-eec3b9c972ba" providerId="ADAL" clId="{9F9E9FDF-7C61-4792-941E-3BBD6C5DB2FE}" dt="2021-02-01T16:05:27.525" v="69" actId="20577"/>
          <ac:graphicFrameMkLst>
            <pc:docMk/>
            <pc:sldMk cId="838709494" sldId="376"/>
            <ac:graphicFrameMk id="6" creationId="{0F955DCC-462D-431D-BBDE-26F10687D590}"/>
          </ac:graphicFrameMkLst>
        </pc:graphicFrameChg>
      </pc:sldChg>
      <pc:sldChg chg="add ord modTransition">
        <pc:chgData name="Thomas Stensitzki" userId="75cafe6b-2f2a-469b-85c4-eec3b9c972ba" providerId="ADAL" clId="{9F9E9FDF-7C61-4792-941E-3BBD6C5DB2FE}" dt="2021-02-02T12:16:03.409" v="1540"/>
        <pc:sldMkLst>
          <pc:docMk/>
          <pc:sldMk cId="1108181351" sldId="377"/>
        </pc:sldMkLst>
      </pc:sldChg>
      <pc:sldChg chg="modSp add mod modTransition modNotesTx">
        <pc:chgData name="Thomas Stensitzki" userId="75cafe6b-2f2a-469b-85c4-eec3b9c972ba" providerId="ADAL" clId="{9F9E9FDF-7C61-4792-941E-3BBD6C5DB2FE}" dt="2021-02-02T12:16:03.409" v="1540"/>
        <pc:sldMkLst>
          <pc:docMk/>
          <pc:sldMk cId="2227487991" sldId="378"/>
        </pc:sldMkLst>
        <pc:spChg chg="mod">
          <ac:chgData name="Thomas Stensitzki" userId="75cafe6b-2f2a-469b-85c4-eec3b9c972ba" providerId="ADAL" clId="{9F9E9FDF-7C61-4792-941E-3BBD6C5DB2FE}" dt="2021-02-02T12:11:53.106" v="1537" actId="1035"/>
          <ac:spMkLst>
            <pc:docMk/>
            <pc:sldMk cId="2227487991" sldId="378"/>
            <ac:spMk id="2" creationId="{909DC09D-B9A6-4493-9A72-1CA7ECB1F5CA}"/>
          </ac:spMkLst>
        </pc:spChg>
        <pc:spChg chg="mod">
          <ac:chgData name="Thomas Stensitzki" userId="75cafe6b-2f2a-469b-85c4-eec3b9c972ba" providerId="ADAL" clId="{9F9E9FDF-7C61-4792-941E-3BBD6C5DB2FE}" dt="2021-02-01T16:45:24.787" v="781" actId="20577"/>
          <ac:spMkLst>
            <pc:docMk/>
            <pc:sldMk cId="2227487991" sldId="378"/>
            <ac:spMk id="5" creationId="{C24DACB5-1BEC-4C86-9652-BAFD8DE56FEF}"/>
          </ac:spMkLst>
        </pc:spChg>
      </pc:sldChg>
      <pc:sldChg chg="addSp">
        <pc:chgData name="Thomas Stensitzki" userId="75cafe6b-2f2a-469b-85c4-eec3b9c972ba" providerId="ADAL" clId="{9F9E9FDF-7C61-4792-941E-3BBD6C5DB2FE}" dt="2021-02-01T16:33:15.669" v="584"/>
        <pc:sldMkLst>
          <pc:docMk/>
          <pc:sldMk cId="3297434357" sldId="379"/>
        </pc:sldMkLst>
        <pc:picChg chg="add">
          <ac:chgData name="Thomas Stensitzki" userId="75cafe6b-2f2a-469b-85c4-eec3b9c972ba" providerId="ADAL" clId="{9F9E9FDF-7C61-4792-941E-3BBD6C5DB2FE}" dt="2021-02-01T16:33:15.669" v="584"/>
          <ac:picMkLst>
            <pc:docMk/>
            <pc:sldMk cId="3297434357" sldId="379"/>
            <ac:picMk id="1026" creationId="{6F4D62F5-9A7A-4568-B0C8-37200F0AADF0}"/>
          </ac:picMkLst>
        </pc:picChg>
      </pc:sldChg>
      <pc:sldChg chg="delSp modSp new add del mod ord modTransition modNotesTx">
        <pc:chgData name="Thomas Stensitzki" userId="75cafe6b-2f2a-469b-85c4-eec3b9c972ba" providerId="ADAL" clId="{9F9E9FDF-7C61-4792-941E-3BBD6C5DB2FE}" dt="2021-02-02T12:24:12.766" v="1596" actId="1440"/>
        <pc:sldMkLst>
          <pc:docMk/>
          <pc:sldMk cId="4126930427" sldId="379"/>
        </pc:sldMkLst>
        <pc:spChg chg="mod">
          <ac:chgData name="Thomas Stensitzki" userId="75cafe6b-2f2a-469b-85c4-eec3b9c972ba" providerId="ADAL" clId="{9F9E9FDF-7C61-4792-941E-3BBD6C5DB2FE}" dt="2021-02-01T16:32:48.109" v="582"/>
          <ac:spMkLst>
            <pc:docMk/>
            <pc:sldMk cId="4126930427" sldId="379"/>
            <ac:spMk id="2" creationId="{50183ADD-E6D0-4570-B5FB-F95BA9130DEC}"/>
          </ac:spMkLst>
        </pc:spChg>
        <pc:spChg chg="del">
          <ac:chgData name="Thomas Stensitzki" userId="75cafe6b-2f2a-469b-85c4-eec3b9c972ba" providerId="ADAL" clId="{9F9E9FDF-7C61-4792-941E-3BBD6C5DB2FE}" dt="2021-02-01T16:32:51.188" v="583" actId="478"/>
          <ac:spMkLst>
            <pc:docMk/>
            <pc:sldMk cId="4126930427" sldId="379"/>
            <ac:spMk id="3" creationId="{63B38917-415E-406D-BA2F-888576D68CE3}"/>
          </ac:spMkLst>
        </pc:spChg>
        <pc:picChg chg="mod">
          <ac:chgData name="Thomas Stensitzki" userId="75cafe6b-2f2a-469b-85c4-eec3b9c972ba" providerId="ADAL" clId="{9F9E9FDF-7C61-4792-941E-3BBD6C5DB2FE}" dt="2021-02-02T12:24:12.766" v="1596" actId="1440"/>
          <ac:picMkLst>
            <pc:docMk/>
            <pc:sldMk cId="4126930427" sldId="379"/>
            <ac:picMk id="1026" creationId="{6F4D62F5-9A7A-4568-B0C8-37200F0AADF0}"/>
          </ac:picMkLst>
        </pc:picChg>
      </pc:sldChg>
      <pc:sldChg chg="modSp new mod modTransition">
        <pc:chgData name="Thomas Stensitzki" userId="75cafe6b-2f2a-469b-85c4-eec3b9c972ba" providerId="ADAL" clId="{9F9E9FDF-7C61-4792-941E-3BBD6C5DB2FE}" dt="2021-02-02T12:16:03.409" v="1540"/>
        <pc:sldMkLst>
          <pc:docMk/>
          <pc:sldMk cId="2961263446" sldId="380"/>
        </pc:sldMkLst>
        <pc:spChg chg="mod">
          <ac:chgData name="Thomas Stensitzki" userId="75cafe6b-2f2a-469b-85c4-eec3b9c972ba" providerId="ADAL" clId="{9F9E9FDF-7C61-4792-941E-3BBD6C5DB2FE}" dt="2021-02-01T16:31:27.314" v="541" actId="20577"/>
          <ac:spMkLst>
            <pc:docMk/>
            <pc:sldMk cId="2961263446" sldId="380"/>
            <ac:spMk id="2" creationId="{A26E16A2-7D3C-4696-B630-50742B55E985}"/>
          </ac:spMkLst>
        </pc:spChg>
        <pc:spChg chg="mod">
          <ac:chgData name="Thomas Stensitzki" userId="75cafe6b-2f2a-469b-85c4-eec3b9c972ba" providerId="ADAL" clId="{9F9E9FDF-7C61-4792-941E-3BBD6C5DB2FE}" dt="2021-02-01T16:31:43.515" v="568" actId="20577"/>
          <ac:spMkLst>
            <pc:docMk/>
            <pc:sldMk cId="2961263446" sldId="380"/>
            <ac:spMk id="3" creationId="{DFFA8D7B-746D-435B-B204-1D05F1677C6B}"/>
          </ac:spMkLst>
        </pc:spChg>
      </pc:sldChg>
      <pc:sldChg chg="addSp delSp modSp add del mod ord modTransition modAnim modNotesTx">
        <pc:chgData name="Thomas Stensitzki" userId="75cafe6b-2f2a-469b-85c4-eec3b9c972ba" providerId="ADAL" clId="{9F9E9FDF-7C61-4792-941E-3BBD6C5DB2FE}" dt="2021-02-02T12:24:06.721" v="1595" actId="1440"/>
        <pc:sldMkLst>
          <pc:docMk/>
          <pc:sldMk cId="2134997509" sldId="381"/>
        </pc:sldMkLst>
        <pc:spChg chg="mod">
          <ac:chgData name="Thomas Stensitzki" userId="75cafe6b-2f2a-469b-85c4-eec3b9c972ba" providerId="ADAL" clId="{9F9E9FDF-7C61-4792-941E-3BBD6C5DB2FE}" dt="2021-02-01T16:36:02.957" v="654"/>
          <ac:spMkLst>
            <pc:docMk/>
            <pc:sldMk cId="2134997509" sldId="381"/>
            <ac:spMk id="2" creationId="{50183ADD-E6D0-4570-B5FB-F95BA9130DEC}"/>
          </ac:spMkLst>
        </pc:spChg>
        <pc:spChg chg="add del">
          <ac:chgData name="Thomas Stensitzki" userId="75cafe6b-2f2a-469b-85c4-eec3b9c972ba" providerId="ADAL" clId="{9F9E9FDF-7C61-4792-941E-3BBD6C5DB2FE}" dt="2021-02-01T16:38:39.219" v="670" actId="22"/>
          <ac:spMkLst>
            <pc:docMk/>
            <pc:sldMk cId="2134997509" sldId="381"/>
            <ac:spMk id="6" creationId="{C76B924A-1598-4EF2-9DF2-0BF5D859A7BC}"/>
          </ac:spMkLst>
        </pc:spChg>
        <pc:picChg chg="add mod">
          <ac:chgData name="Thomas Stensitzki" userId="75cafe6b-2f2a-469b-85c4-eec3b9c972ba" providerId="ADAL" clId="{9F9E9FDF-7C61-4792-941E-3BBD6C5DB2FE}" dt="2021-02-02T12:23:56.265" v="1591" actId="1440"/>
          <ac:picMkLst>
            <pc:docMk/>
            <pc:sldMk cId="2134997509" sldId="381"/>
            <ac:picMk id="4" creationId="{9D05F190-4412-4197-8E5C-5F0A9D2394F8}"/>
          </ac:picMkLst>
        </pc:picChg>
        <pc:picChg chg="del">
          <ac:chgData name="Thomas Stensitzki" userId="75cafe6b-2f2a-469b-85c4-eec3b9c972ba" providerId="ADAL" clId="{9F9E9FDF-7C61-4792-941E-3BBD6C5DB2FE}" dt="2021-02-01T16:34:39.482" v="596" actId="478"/>
          <ac:picMkLst>
            <pc:docMk/>
            <pc:sldMk cId="2134997509" sldId="381"/>
            <ac:picMk id="1026" creationId="{6F4D62F5-9A7A-4568-B0C8-37200F0AADF0}"/>
          </ac:picMkLst>
        </pc:picChg>
        <pc:picChg chg="mod">
          <ac:chgData name="Thomas Stensitzki" userId="75cafe6b-2f2a-469b-85c4-eec3b9c972ba" providerId="ADAL" clId="{9F9E9FDF-7C61-4792-941E-3BBD6C5DB2FE}" dt="2021-02-02T12:24:06.721" v="1595" actId="1440"/>
          <ac:picMkLst>
            <pc:docMk/>
            <pc:sldMk cId="2134997509" sldId="381"/>
            <ac:picMk id="2050" creationId="{9F54692A-BFF1-40AA-8546-4373B2D37913}"/>
          </ac:picMkLst>
        </pc:picChg>
      </pc:sldChg>
      <pc:sldChg chg="addSp">
        <pc:chgData name="Thomas Stensitzki" userId="75cafe6b-2f2a-469b-85c4-eec3b9c972ba" providerId="ADAL" clId="{9F9E9FDF-7C61-4792-941E-3BBD6C5DB2FE}" dt="2021-02-01T16:37:37.427" v="660"/>
        <pc:sldMkLst>
          <pc:docMk/>
          <pc:sldMk cId="4092087368" sldId="381"/>
        </pc:sldMkLst>
        <pc:picChg chg="add">
          <ac:chgData name="Thomas Stensitzki" userId="75cafe6b-2f2a-469b-85c4-eec3b9c972ba" providerId="ADAL" clId="{9F9E9FDF-7C61-4792-941E-3BBD6C5DB2FE}" dt="2021-02-01T16:37:37.427" v="660"/>
          <ac:picMkLst>
            <pc:docMk/>
            <pc:sldMk cId="4092087368" sldId="381"/>
            <ac:picMk id="2050" creationId="{9F54692A-BFF1-40AA-8546-4373B2D37913}"/>
          </ac:picMkLst>
        </pc:picChg>
      </pc:sldChg>
      <pc:sldChg chg="delSp modSp add del mod ord modTransition modAnim modNotesTx">
        <pc:chgData name="Thomas Stensitzki" userId="75cafe6b-2f2a-469b-85c4-eec3b9c972ba" providerId="ADAL" clId="{9F9E9FDF-7C61-4792-941E-3BBD6C5DB2FE}" dt="2021-02-02T12:25:33.964" v="1609"/>
        <pc:sldMkLst>
          <pc:docMk/>
          <pc:sldMk cId="804569921" sldId="382"/>
        </pc:sldMkLst>
        <pc:spChg chg="mod">
          <ac:chgData name="Thomas Stensitzki" userId="75cafe6b-2f2a-469b-85c4-eec3b9c972ba" providerId="ADAL" clId="{9F9E9FDF-7C61-4792-941E-3BBD6C5DB2FE}" dt="2021-02-01T16:40:06.108" v="700"/>
          <ac:spMkLst>
            <pc:docMk/>
            <pc:sldMk cId="804569921" sldId="382"/>
            <ac:spMk id="2" creationId="{50183ADD-E6D0-4570-B5FB-F95BA9130DEC}"/>
          </ac:spMkLst>
        </pc:spChg>
        <pc:picChg chg="del">
          <ac:chgData name="Thomas Stensitzki" userId="75cafe6b-2f2a-469b-85c4-eec3b9c972ba" providerId="ADAL" clId="{9F9E9FDF-7C61-4792-941E-3BBD6C5DB2FE}" dt="2021-02-01T16:38:44.704" v="672" actId="478"/>
          <ac:picMkLst>
            <pc:docMk/>
            <pc:sldMk cId="804569921" sldId="382"/>
            <ac:picMk id="1026" creationId="{6F4D62F5-9A7A-4568-B0C8-37200F0AADF0}"/>
          </ac:picMkLst>
        </pc:picChg>
        <pc:picChg chg="mod">
          <ac:chgData name="Thomas Stensitzki" userId="75cafe6b-2f2a-469b-85c4-eec3b9c972ba" providerId="ADAL" clId="{9F9E9FDF-7C61-4792-941E-3BBD6C5DB2FE}" dt="2021-02-02T12:23:36.133" v="1587" actId="1440"/>
          <ac:picMkLst>
            <pc:docMk/>
            <pc:sldMk cId="804569921" sldId="382"/>
            <ac:picMk id="3074" creationId="{525FA78C-D70F-4375-8510-812E8C34D37F}"/>
          </ac:picMkLst>
        </pc:picChg>
        <pc:picChg chg="mod">
          <ac:chgData name="Thomas Stensitzki" userId="75cafe6b-2f2a-469b-85c4-eec3b9c972ba" providerId="ADAL" clId="{9F9E9FDF-7C61-4792-941E-3BBD6C5DB2FE}" dt="2021-02-02T12:23:44.023" v="1589" actId="1440"/>
          <ac:picMkLst>
            <pc:docMk/>
            <pc:sldMk cId="804569921" sldId="382"/>
            <ac:picMk id="4098" creationId="{C3BE1F8B-0C0E-46DA-8F0F-EA84B0224D86}"/>
          </ac:picMkLst>
        </pc:picChg>
      </pc:sldChg>
      <pc:sldChg chg="addSp">
        <pc:chgData name="Thomas Stensitzki" userId="75cafe6b-2f2a-469b-85c4-eec3b9c972ba" providerId="ADAL" clId="{9F9E9FDF-7C61-4792-941E-3BBD6C5DB2FE}" dt="2021-02-01T16:40:14.886" v="701"/>
        <pc:sldMkLst>
          <pc:docMk/>
          <pc:sldMk cId="2964036851" sldId="382"/>
        </pc:sldMkLst>
        <pc:picChg chg="add">
          <ac:chgData name="Thomas Stensitzki" userId="75cafe6b-2f2a-469b-85c4-eec3b9c972ba" providerId="ADAL" clId="{9F9E9FDF-7C61-4792-941E-3BBD6C5DB2FE}" dt="2021-02-01T16:40:14.886" v="701"/>
          <ac:picMkLst>
            <pc:docMk/>
            <pc:sldMk cId="2964036851" sldId="382"/>
            <ac:picMk id="3074" creationId="{525FA78C-D70F-4375-8510-812E8C34D37F}"/>
          </ac:picMkLst>
        </pc:picChg>
      </pc:sldChg>
      <pc:sldChg chg="addSp">
        <pc:chgData name="Thomas Stensitzki" userId="75cafe6b-2f2a-469b-85c4-eec3b9c972ba" providerId="ADAL" clId="{9F9E9FDF-7C61-4792-941E-3BBD6C5DB2FE}" dt="2021-02-01T16:40:33.988" v="705"/>
        <pc:sldMkLst>
          <pc:docMk/>
          <pc:sldMk cId="3129078594" sldId="382"/>
        </pc:sldMkLst>
        <pc:picChg chg="add">
          <ac:chgData name="Thomas Stensitzki" userId="75cafe6b-2f2a-469b-85c4-eec3b9c972ba" providerId="ADAL" clId="{9F9E9FDF-7C61-4792-941E-3BBD6C5DB2FE}" dt="2021-02-01T16:40:33.988" v="705"/>
          <ac:picMkLst>
            <pc:docMk/>
            <pc:sldMk cId="3129078594" sldId="382"/>
            <ac:picMk id="4098" creationId="{C3BE1F8B-0C0E-46DA-8F0F-EA84B0224D86}"/>
          </ac:picMkLst>
        </pc:picChg>
      </pc:sldChg>
      <pc:sldChg chg="addSp modSp add del mod ord modTransition modAnim modNotesTx">
        <pc:chgData name="Thomas Stensitzki" userId="75cafe6b-2f2a-469b-85c4-eec3b9c972ba" providerId="ADAL" clId="{9F9E9FDF-7C61-4792-941E-3BBD6C5DB2FE}" dt="2021-02-02T12:23:12.634" v="1585"/>
        <pc:sldMkLst>
          <pc:docMk/>
          <pc:sldMk cId="1200616128" sldId="383"/>
        </pc:sldMkLst>
        <pc:spChg chg="mod">
          <ac:chgData name="Thomas Stensitzki" userId="75cafe6b-2f2a-469b-85c4-eec3b9c972ba" providerId="ADAL" clId="{9F9E9FDF-7C61-4792-941E-3BBD6C5DB2FE}" dt="2021-02-01T16:42:12.561" v="734"/>
          <ac:spMkLst>
            <pc:docMk/>
            <pc:sldMk cId="1200616128" sldId="383"/>
            <ac:spMk id="2" creationId="{50183ADD-E6D0-4570-B5FB-F95BA9130DEC}"/>
          </ac:spMkLst>
        </pc:spChg>
        <pc:picChg chg="mod">
          <ac:chgData name="Thomas Stensitzki" userId="75cafe6b-2f2a-469b-85c4-eec3b9c972ba" providerId="ADAL" clId="{9F9E9FDF-7C61-4792-941E-3BBD6C5DB2FE}" dt="2021-02-02T12:23:01.298" v="1584" actId="1440"/>
          <ac:picMkLst>
            <pc:docMk/>
            <pc:sldMk cId="1200616128" sldId="383"/>
            <ac:picMk id="5122" creationId="{98FEBD17-3DE4-4FC0-98CD-A47E52244993}"/>
          </ac:picMkLst>
        </pc:picChg>
        <pc:picChg chg="mod">
          <ac:chgData name="Thomas Stensitzki" userId="75cafe6b-2f2a-469b-85c4-eec3b9c972ba" providerId="ADAL" clId="{9F9E9FDF-7C61-4792-941E-3BBD6C5DB2FE}" dt="2021-02-02T12:22:35.638" v="1581" actId="1440"/>
          <ac:picMkLst>
            <pc:docMk/>
            <pc:sldMk cId="1200616128" sldId="383"/>
            <ac:picMk id="6146" creationId="{D79D56E1-73D8-41FE-BCAC-51D16FAF5530}"/>
          </ac:picMkLst>
        </pc:picChg>
        <pc:cxnChg chg="add mod">
          <ac:chgData name="Thomas Stensitzki" userId="75cafe6b-2f2a-469b-85c4-eec3b9c972ba" providerId="ADAL" clId="{9F9E9FDF-7C61-4792-941E-3BBD6C5DB2FE}" dt="2021-02-02T12:21:54.518" v="1578" actId="208"/>
          <ac:cxnSpMkLst>
            <pc:docMk/>
            <pc:sldMk cId="1200616128" sldId="383"/>
            <ac:cxnSpMk id="4" creationId="{A2316F48-304E-4FE0-92CD-62B086F6AF6B}"/>
          </ac:cxnSpMkLst>
        </pc:cxnChg>
      </pc:sldChg>
      <pc:sldChg chg="addSp">
        <pc:chgData name="Thomas Stensitzki" userId="75cafe6b-2f2a-469b-85c4-eec3b9c972ba" providerId="ADAL" clId="{9F9E9FDF-7C61-4792-941E-3BBD6C5DB2FE}" dt="2021-02-01T16:43:13.235" v="741"/>
        <pc:sldMkLst>
          <pc:docMk/>
          <pc:sldMk cId="2646536025" sldId="383"/>
        </pc:sldMkLst>
        <pc:picChg chg="add">
          <ac:chgData name="Thomas Stensitzki" userId="75cafe6b-2f2a-469b-85c4-eec3b9c972ba" providerId="ADAL" clId="{9F9E9FDF-7C61-4792-941E-3BBD6C5DB2FE}" dt="2021-02-01T16:43:13.235" v="741"/>
          <ac:picMkLst>
            <pc:docMk/>
            <pc:sldMk cId="2646536025" sldId="383"/>
            <ac:picMk id="6146" creationId="{D79D56E1-73D8-41FE-BCAC-51D16FAF5530}"/>
          </ac:picMkLst>
        </pc:picChg>
      </pc:sldChg>
      <pc:sldChg chg="addSp">
        <pc:chgData name="Thomas Stensitzki" userId="75cafe6b-2f2a-469b-85c4-eec3b9c972ba" providerId="ADAL" clId="{9F9E9FDF-7C61-4792-941E-3BBD6C5DB2FE}" dt="2021-02-01T16:43:01.213" v="738"/>
        <pc:sldMkLst>
          <pc:docMk/>
          <pc:sldMk cId="3315723477" sldId="383"/>
        </pc:sldMkLst>
        <pc:picChg chg="add">
          <ac:chgData name="Thomas Stensitzki" userId="75cafe6b-2f2a-469b-85c4-eec3b9c972ba" providerId="ADAL" clId="{9F9E9FDF-7C61-4792-941E-3BBD6C5DB2FE}" dt="2021-02-01T16:43:01.213" v="738"/>
          <ac:picMkLst>
            <pc:docMk/>
            <pc:sldMk cId="3315723477" sldId="383"/>
            <ac:picMk id="5122" creationId="{98FEBD17-3DE4-4FC0-98CD-A47E52244993}"/>
          </ac:picMkLst>
        </pc:picChg>
      </pc:sldChg>
      <pc:sldChg chg="addSp">
        <pc:chgData name="Thomas Stensitzki" userId="75cafe6b-2f2a-469b-85c4-eec3b9c972ba" providerId="ADAL" clId="{9F9E9FDF-7C61-4792-941E-3BBD6C5DB2FE}" dt="2021-02-01T16:46:47.567" v="797"/>
        <pc:sldMkLst>
          <pc:docMk/>
          <pc:sldMk cId="268345041" sldId="384"/>
        </pc:sldMkLst>
        <pc:picChg chg="add">
          <ac:chgData name="Thomas Stensitzki" userId="75cafe6b-2f2a-469b-85c4-eec3b9c972ba" providerId="ADAL" clId="{9F9E9FDF-7C61-4792-941E-3BBD6C5DB2FE}" dt="2021-02-01T16:46:47.567" v="797"/>
          <ac:picMkLst>
            <pc:docMk/>
            <pc:sldMk cId="268345041" sldId="384"/>
            <ac:picMk id="7170" creationId="{260BBE70-DAC3-4E07-B418-8D32185B4B8C}"/>
          </ac:picMkLst>
        </pc:picChg>
      </pc:sldChg>
      <pc:sldChg chg="modSp add del mod ord modTransition modNotesTx">
        <pc:chgData name="Thomas Stensitzki" userId="75cafe6b-2f2a-469b-85c4-eec3b9c972ba" providerId="ADAL" clId="{9F9E9FDF-7C61-4792-941E-3BBD6C5DB2FE}" dt="2021-02-02T12:28:27.405" v="1622" actId="1440"/>
        <pc:sldMkLst>
          <pc:docMk/>
          <pc:sldMk cId="2706860444" sldId="384"/>
        </pc:sldMkLst>
        <pc:spChg chg="mod">
          <ac:chgData name="Thomas Stensitzki" userId="75cafe6b-2f2a-469b-85c4-eec3b9c972ba" providerId="ADAL" clId="{9F9E9FDF-7C61-4792-941E-3BBD6C5DB2FE}" dt="2021-02-01T16:46:40.586" v="796"/>
          <ac:spMkLst>
            <pc:docMk/>
            <pc:sldMk cId="2706860444" sldId="384"/>
            <ac:spMk id="2" creationId="{50183ADD-E6D0-4570-B5FB-F95BA9130DEC}"/>
          </ac:spMkLst>
        </pc:spChg>
        <pc:picChg chg="mod">
          <ac:chgData name="Thomas Stensitzki" userId="75cafe6b-2f2a-469b-85c4-eec3b9c972ba" providerId="ADAL" clId="{9F9E9FDF-7C61-4792-941E-3BBD6C5DB2FE}" dt="2021-02-02T12:28:27.405" v="1622" actId="1440"/>
          <ac:picMkLst>
            <pc:docMk/>
            <pc:sldMk cId="2706860444" sldId="384"/>
            <ac:picMk id="7170" creationId="{260BBE70-DAC3-4E07-B418-8D32185B4B8C}"/>
          </ac:picMkLst>
        </pc:picChg>
      </pc:sldChg>
      <pc:sldChg chg="addSp">
        <pc:chgData name="Thomas Stensitzki" userId="75cafe6b-2f2a-469b-85c4-eec3b9c972ba" providerId="ADAL" clId="{9F9E9FDF-7C61-4792-941E-3BBD6C5DB2FE}" dt="2021-02-01T16:48:46.082" v="818"/>
        <pc:sldMkLst>
          <pc:docMk/>
          <pc:sldMk cId="200308074" sldId="385"/>
        </pc:sldMkLst>
        <pc:picChg chg="add">
          <ac:chgData name="Thomas Stensitzki" userId="75cafe6b-2f2a-469b-85c4-eec3b9c972ba" providerId="ADAL" clId="{9F9E9FDF-7C61-4792-941E-3BBD6C5DB2FE}" dt="2021-02-01T16:48:46.082" v="818"/>
          <ac:picMkLst>
            <pc:docMk/>
            <pc:sldMk cId="200308074" sldId="385"/>
            <ac:picMk id="8194" creationId="{088BB987-0736-45BC-A2AE-5F7C068F7E09}"/>
          </ac:picMkLst>
        </pc:picChg>
      </pc:sldChg>
      <pc:sldChg chg="addSp">
        <pc:chgData name="Thomas Stensitzki" userId="75cafe6b-2f2a-469b-85c4-eec3b9c972ba" providerId="ADAL" clId="{9F9E9FDF-7C61-4792-941E-3BBD6C5DB2FE}" dt="2021-02-01T16:49:13.209" v="822"/>
        <pc:sldMkLst>
          <pc:docMk/>
          <pc:sldMk cId="472251526" sldId="385"/>
        </pc:sldMkLst>
        <pc:picChg chg="add">
          <ac:chgData name="Thomas Stensitzki" userId="75cafe6b-2f2a-469b-85c4-eec3b9c972ba" providerId="ADAL" clId="{9F9E9FDF-7C61-4792-941E-3BBD6C5DB2FE}" dt="2021-02-01T16:49:13.209" v="822"/>
          <ac:picMkLst>
            <pc:docMk/>
            <pc:sldMk cId="472251526" sldId="385"/>
            <ac:picMk id="9218" creationId="{F8D8E185-9FFE-4889-9996-BD5B46FBFDE2}"/>
          </ac:picMkLst>
        </pc:picChg>
      </pc:sldChg>
      <pc:sldChg chg="modSp add del mod ord modTransition modAnim modNotesTx">
        <pc:chgData name="Thomas Stensitzki" userId="75cafe6b-2f2a-469b-85c4-eec3b9c972ba" providerId="ADAL" clId="{9F9E9FDF-7C61-4792-941E-3BBD6C5DB2FE}" dt="2021-02-02T12:29:29.036" v="1638"/>
        <pc:sldMkLst>
          <pc:docMk/>
          <pc:sldMk cId="2618174212" sldId="385"/>
        </pc:sldMkLst>
        <pc:spChg chg="mod">
          <ac:chgData name="Thomas Stensitzki" userId="75cafe6b-2f2a-469b-85c4-eec3b9c972ba" providerId="ADAL" clId="{9F9E9FDF-7C61-4792-941E-3BBD6C5DB2FE}" dt="2021-02-01T16:47:55.508" v="804"/>
          <ac:spMkLst>
            <pc:docMk/>
            <pc:sldMk cId="2618174212" sldId="385"/>
            <ac:spMk id="2" creationId="{50183ADD-E6D0-4570-B5FB-F95BA9130DEC}"/>
          </ac:spMkLst>
        </pc:spChg>
        <pc:picChg chg="mod">
          <ac:chgData name="Thomas Stensitzki" userId="75cafe6b-2f2a-469b-85c4-eec3b9c972ba" providerId="ADAL" clId="{9F9E9FDF-7C61-4792-941E-3BBD6C5DB2FE}" dt="2021-02-02T12:29:03.092" v="1632" actId="1440"/>
          <ac:picMkLst>
            <pc:docMk/>
            <pc:sldMk cId="2618174212" sldId="385"/>
            <ac:picMk id="8194" creationId="{088BB987-0736-45BC-A2AE-5F7C068F7E09}"/>
          </ac:picMkLst>
        </pc:picChg>
        <pc:picChg chg="mod">
          <ac:chgData name="Thomas Stensitzki" userId="75cafe6b-2f2a-469b-85c4-eec3b9c972ba" providerId="ADAL" clId="{9F9E9FDF-7C61-4792-941E-3BBD6C5DB2FE}" dt="2021-02-02T12:29:23.820" v="1637" actId="1076"/>
          <ac:picMkLst>
            <pc:docMk/>
            <pc:sldMk cId="2618174212" sldId="385"/>
            <ac:picMk id="9218" creationId="{F8D8E185-9FFE-4889-9996-BD5B46FBFDE2}"/>
          </ac:picMkLst>
        </pc:picChg>
      </pc:sldChg>
      <pc:sldChg chg="addSp">
        <pc:chgData name="Thomas Stensitzki" userId="75cafe6b-2f2a-469b-85c4-eec3b9c972ba" providerId="ADAL" clId="{9F9E9FDF-7C61-4792-941E-3BBD6C5DB2FE}" dt="2021-02-01T16:51:43.493" v="851"/>
        <pc:sldMkLst>
          <pc:docMk/>
          <pc:sldMk cId="111797964" sldId="386"/>
        </pc:sldMkLst>
        <pc:picChg chg="add">
          <ac:chgData name="Thomas Stensitzki" userId="75cafe6b-2f2a-469b-85c4-eec3b9c972ba" providerId="ADAL" clId="{9F9E9FDF-7C61-4792-941E-3BBD6C5DB2FE}" dt="2021-02-01T16:51:43.493" v="851"/>
          <ac:picMkLst>
            <pc:docMk/>
            <pc:sldMk cId="111797964" sldId="386"/>
            <ac:picMk id="11266" creationId="{68B66526-F4E2-473C-8CC5-9B0D8882C321}"/>
          </ac:picMkLst>
        </pc:picChg>
      </pc:sldChg>
      <pc:sldChg chg="addSp">
        <pc:chgData name="Thomas Stensitzki" userId="75cafe6b-2f2a-469b-85c4-eec3b9c972ba" providerId="ADAL" clId="{9F9E9FDF-7C61-4792-941E-3BBD6C5DB2FE}" dt="2021-02-01T16:51:28.456" v="847"/>
        <pc:sldMkLst>
          <pc:docMk/>
          <pc:sldMk cId="1399614890" sldId="386"/>
        </pc:sldMkLst>
        <pc:picChg chg="add">
          <ac:chgData name="Thomas Stensitzki" userId="75cafe6b-2f2a-469b-85c4-eec3b9c972ba" providerId="ADAL" clId="{9F9E9FDF-7C61-4792-941E-3BBD6C5DB2FE}" dt="2021-02-01T16:51:28.456" v="847"/>
          <ac:picMkLst>
            <pc:docMk/>
            <pc:sldMk cId="1399614890" sldId="386"/>
            <ac:picMk id="10242" creationId="{9C37F8C5-9571-4D51-B7F2-F05AB240B20B}"/>
          </ac:picMkLst>
        </pc:picChg>
      </pc:sldChg>
      <pc:sldChg chg="modSp add del mod ord modTransition modAnim modNotesTx">
        <pc:chgData name="Thomas Stensitzki" userId="75cafe6b-2f2a-469b-85c4-eec3b9c972ba" providerId="ADAL" clId="{9F9E9FDF-7C61-4792-941E-3BBD6C5DB2FE}" dt="2021-02-02T12:38:08.228" v="1654"/>
        <pc:sldMkLst>
          <pc:docMk/>
          <pc:sldMk cId="2318153121" sldId="386"/>
        </pc:sldMkLst>
        <pc:spChg chg="mod">
          <ac:chgData name="Thomas Stensitzki" userId="75cafe6b-2f2a-469b-85c4-eec3b9c972ba" providerId="ADAL" clId="{9F9E9FDF-7C61-4792-941E-3BBD6C5DB2FE}" dt="2021-02-01T16:50:35.609" v="836"/>
          <ac:spMkLst>
            <pc:docMk/>
            <pc:sldMk cId="2318153121" sldId="386"/>
            <ac:spMk id="2" creationId="{50183ADD-E6D0-4570-B5FB-F95BA9130DEC}"/>
          </ac:spMkLst>
        </pc:spChg>
        <pc:picChg chg="mod">
          <ac:chgData name="Thomas Stensitzki" userId="75cafe6b-2f2a-469b-85c4-eec3b9c972ba" providerId="ADAL" clId="{9F9E9FDF-7C61-4792-941E-3BBD6C5DB2FE}" dt="2021-02-02T12:37:46.408" v="1648" actId="1440"/>
          <ac:picMkLst>
            <pc:docMk/>
            <pc:sldMk cId="2318153121" sldId="386"/>
            <ac:picMk id="10242" creationId="{9C37F8C5-9571-4D51-B7F2-F05AB240B20B}"/>
          </ac:picMkLst>
        </pc:picChg>
        <pc:picChg chg="mod">
          <ac:chgData name="Thomas Stensitzki" userId="75cafe6b-2f2a-469b-85c4-eec3b9c972ba" providerId="ADAL" clId="{9F9E9FDF-7C61-4792-941E-3BBD6C5DB2FE}" dt="2021-02-02T12:38:04.134" v="1653" actId="1440"/>
          <ac:picMkLst>
            <pc:docMk/>
            <pc:sldMk cId="2318153121" sldId="386"/>
            <ac:picMk id="11266" creationId="{68B66526-F4E2-473C-8CC5-9B0D8882C321}"/>
          </ac:picMkLst>
        </pc:picChg>
      </pc:sldChg>
      <pc:sldChg chg="modSp add mod modTransition modNotesTx">
        <pc:chgData name="Thomas Stensitzki" userId="75cafe6b-2f2a-469b-85c4-eec3b9c972ba" providerId="ADAL" clId="{9F9E9FDF-7C61-4792-941E-3BBD6C5DB2FE}" dt="2021-02-02T12:27:52.848" v="1618"/>
        <pc:sldMkLst>
          <pc:docMk/>
          <pc:sldMk cId="2558906762" sldId="387"/>
        </pc:sldMkLst>
        <pc:spChg chg="mod">
          <ac:chgData name="Thomas Stensitzki" userId="75cafe6b-2f2a-469b-85c4-eec3b9c972ba" providerId="ADAL" clId="{9F9E9FDF-7C61-4792-941E-3BBD6C5DB2FE}" dt="2021-02-02T12:27:30.479" v="1616" actId="1036"/>
          <ac:spMkLst>
            <pc:docMk/>
            <pc:sldMk cId="2558906762" sldId="387"/>
            <ac:spMk id="2" creationId="{909DC09D-B9A6-4493-9A72-1CA7ECB1F5CA}"/>
          </ac:spMkLst>
        </pc:spChg>
        <pc:spChg chg="mod">
          <ac:chgData name="Thomas Stensitzki" userId="75cafe6b-2f2a-469b-85c4-eec3b9c972ba" providerId="ADAL" clId="{9F9E9FDF-7C61-4792-941E-3BBD6C5DB2FE}" dt="2021-02-01T17:03:56.503" v="1065" actId="20577"/>
          <ac:spMkLst>
            <pc:docMk/>
            <pc:sldMk cId="2558906762" sldId="387"/>
            <ac:spMk id="5" creationId="{C24DACB5-1BEC-4C86-9652-BAFD8DE56FEF}"/>
          </ac:spMkLst>
        </pc:spChg>
      </pc:sldChg>
      <pc:sldChg chg="addSp">
        <pc:chgData name="Thomas Stensitzki" userId="75cafe6b-2f2a-469b-85c4-eec3b9c972ba" providerId="ADAL" clId="{9F9E9FDF-7C61-4792-941E-3BBD6C5DB2FE}" dt="2021-02-01T16:59:24.441" v="943"/>
        <pc:sldMkLst>
          <pc:docMk/>
          <pc:sldMk cId="1475173892" sldId="388"/>
        </pc:sldMkLst>
        <pc:picChg chg="add">
          <ac:chgData name="Thomas Stensitzki" userId="75cafe6b-2f2a-469b-85c4-eec3b9c972ba" providerId="ADAL" clId="{9F9E9FDF-7C61-4792-941E-3BBD6C5DB2FE}" dt="2021-02-01T16:59:24.441" v="943"/>
          <ac:picMkLst>
            <pc:docMk/>
            <pc:sldMk cId="1475173892" sldId="388"/>
            <ac:picMk id="14338" creationId="{EE8D1B22-ACB4-46C4-A4E7-A7B07C0707BC}"/>
          </ac:picMkLst>
        </pc:picChg>
      </pc:sldChg>
      <pc:sldChg chg="addSp delSp modSp add del mod modTransition modNotesTx">
        <pc:chgData name="Thomas Stensitzki" userId="75cafe6b-2f2a-469b-85c4-eec3b9c972ba" providerId="ADAL" clId="{9F9E9FDF-7C61-4792-941E-3BBD6C5DB2FE}" dt="2021-02-02T12:53:42.475" v="1704" actId="17032"/>
        <pc:sldMkLst>
          <pc:docMk/>
          <pc:sldMk cId="2051762330" sldId="388"/>
        </pc:sldMkLst>
        <pc:spChg chg="mod">
          <ac:chgData name="Thomas Stensitzki" userId="75cafe6b-2f2a-469b-85c4-eec3b9c972ba" providerId="ADAL" clId="{9F9E9FDF-7C61-4792-941E-3BBD6C5DB2FE}" dt="2021-02-01T17:12:20.815" v="1143"/>
          <ac:spMkLst>
            <pc:docMk/>
            <pc:sldMk cId="2051762330" sldId="388"/>
            <ac:spMk id="2" creationId="{50183ADD-E6D0-4570-B5FB-F95BA9130DEC}"/>
          </ac:spMkLst>
        </pc:spChg>
        <pc:spChg chg="add mod">
          <ac:chgData name="Thomas Stensitzki" userId="75cafe6b-2f2a-469b-85c4-eec3b9c972ba" providerId="ADAL" clId="{9F9E9FDF-7C61-4792-941E-3BBD6C5DB2FE}" dt="2021-02-02T12:53:42.475" v="1704" actId="17032"/>
          <ac:spMkLst>
            <pc:docMk/>
            <pc:sldMk cId="2051762330" sldId="388"/>
            <ac:spMk id="3" creationId="{0C85C9A9-0526-420F-88D1-C511F504C043}"/>
          </ac:spMkLst>
        </pc:spChg>
        <pc:picChg chg="add del mod">
          <ac:chgData name="Thomas Stensitzki" userId="75cafe6b-2f2a-469b-85c4-eec3b9c972ba" providerId="ADAL" clId="{9F9E9FDF-7C61-4792-941E-3BBD6C5DB2FE}" dt="2021-02-01T17:12:59.806" v="1149" actId="478"/>
          <ac:picMkLst>
            <pc:docMk/>
            <pc:sldMk cId="2051762330" sldId="388"/>
            <ac:picMk id="14338" creationId="{EE8D1B22-ACB4-46C4-A4E7-A7B07C0707BC}"/>
          </ac:picMkLst>
        </pc:picChg>
        <pc:picChg chg="mod">
          <ac:chgData name="Thomas Stensitzki" userId="75cafe6b-2f2a-469b-85c4-eec3b9c972ba" providerId="ADAL" clId="{9F9E9FDF-7C61-4792-941E-3BBD6C5DB2FE}" dt="2021-02-02T12:53:05.755" v="1702" actId="1076"/>
          <ac:picMkLst>
            <pc:docMk/>
            <pc:sldMk cId="2051762330" sldId="388"/>
            <ac:picMk id="19458" creationId="{D0BE47F9-312D-4DCB-9EEB-05CA5E81F0B9}"/>
          </ac:picMkLst>
        </pc:picChg>
      </pc:sldChg>
      <pc:sldChg chg="addSp">
        <pc:chgData name="Thomas Stensitzki" userId="75cafe6b-2f2a-469b-85c4-eec3b9c972ba" providerId="ADAL" clId="{9F9E9FDF-7C61-4792-941E-3BBD6C5DB2FE}" dt="2021-02-01T17:13:04.894" v="1150"/>
        <pc:sldMkLst>
          <pc:docMk/>
          <pc:sldMk cId="3464665633" sldId="388"/>
        </pc:sldMkLst>
        <pc:picChg chg="add">
          <ac:chgData name="Thomas Stensitzki" userId="75cafe6b-2f2a-469b-85c4-eec3b9c972ba" providerId="ADAL" clId="{9F9E9FDF-7C61-4792-941E-3BBD6C5DB2FE}" dt="2021-02-01T17:13:04.894" v="1150"/>
          <ac:picMkLst>
            <pc:docMk/>
            <pc:sldMk cId="3464665633" sldId="388"/>
            <ac:picMk id="19458" creationId="{D0BE47F9-312D-4DCB-9EEB-05CA5E81F0B9}"/>
          </ac:picMkLst>
        </pc:picChg>
      </pc:sldChg>
      <pc:sldChg chg="addSp">
        <pc:chgData name="Thomas Stensitzki" userId="75cafe6b-2f2a-469b-85c4-eec3b9c972ba" providerId="ADAL" clId="{9F9E9FDF-7C61-4792-941E-3BBD6C5DB2FE}" dt="2021-02-01T16:57:50.417" v="917"/>
        <pc:sldMkLst>
          <pc:docMk/>
          <pc:sldMk cId="1957061461" sldId="389"/>
        </pc:sldMkLst>
        <pc:picChg chg="add">
          <ac:chgData name="Thomas Stensitzki" userId="75cafe6b-2f2a-469b-85c4-eec3b9c972ba" providerId="ADAL" clId="{9F9E9FDF-7C61-4792-941E-3BBD6C5DB2FE}" dt="2021-02-01T16:57:50.417" v="917"/>
          <ac:picMkLst>
            <pc:docMk/>
            <pc:sldMk cId="1957061461" sldId="389"/>
            <ac:picMk id="13314" creationId="{0EE2B04D-768F-4FAF-A2DC-658BEBF890D3}"/>
          </ac:picMkLst>
        </pc:picChg>
      </pc:sldChg>
      <pc:sldChg chg="modSp add del mod ord modTransition modNotesTx">
        <pc:chgData name="Thomas Stensitzki" userId="75cafe6b-2f2a-469b-85c4-eec3b9c972ba" providerId="ADAL" clId="{9F9E9FDF-7C61-4792-941E-3BBD6C5DB2FE}" dt="2021-02-02T12:41:49.731" v="1673" actId="1440"/>
        <pc:sldMkLst>
          <pc:docMk/>
          <pc:sldMk cId="3866198253" sldId="389"/>
        </pc:sldMkLst>
        <pc:spChg chg="mod">
          <ac:chgData name="Thomas Stensitzki" userId="75cafe6b-2f2a-469b-85c4-eec3b9c972ba" providerId="ADAL" clId="{9F9E9FDF-7C61-4792-941E-3BBD6C5DB2FE}" dt="2021-02-01T16:56:49.112" v="896"/>
          <ac:spMkLst>
            <pc:docMk/>
            <pc:sldMk cId="3866198253" sldId="389"/>
            <ac:spMk id="2" creationId="{50183ADD-E6D0-4570-B5FB-F95BA9130DEC}"/>
          </ac:spMkLst>
        </pc:spChg>
        <pc:picChg chg="mod">
          <ac:chgData name="Thomas Stensitzki" userId="75cafe6b-2f2a-469b-85c4-eec3b9c972ba" providerId="ADAL" clId="{9F9E9FDF-7C61-4792-941E-3BBD6C5DB2FE}" dt="2021-02-02T12:41:49.731" v="1673" actId="1440"/>
          <ac:picMkLst>
            <pc:docMk/>
            <pc:sldMk cId="3866198253" sldId="389"/>
            <ac:picMk id="13314" creationId="{0EE2B04D-768F-4FAF-A2DC-658BEBF890D3}"/>
          </ac:picMkLst>
        </pc:picChg>
      </pc:sldChg>
      <pc:sldChg chg="addSp delSp modSp add del mod ord modTransition modNotesTx">
        <pc:chgData name="Thomas Stensitzki" userId="75cafe6b-2f2a-469b-85c4-eec3b9c972ba" providerId="ADAL" clId="{9F9E9FDF-7C61-4792-941E-3BBD6C5DB2FE}" dt="2021-02-02T12:41:19.513" v="1664" actId="1440"/>
        <pc:sldMkLst>
          <pc:docMk/>
          <pc:sldMk cId="1281650883" sldId="390"/>
        </pc:sldMkLst>
        <pc:spChg chg="mod">
          <ac:chgData name="Thomas Stensitzki" userId="75cafe6b-2f2a-469b-85c4-eec3b9c972ba" providerId="ADAL" clId="{9F9E9FDF-7C61-4792-941E-3BBD6C5DB2FE}" dt="2021-02-01T16:52:05.797" v="854"/>
          <ac:spMkLst>
            <pc:docMk/>
            <pc:sldMk cId="1281650883" sldId="390"/>
            <ac:spMk id="2" creationId="{50183ADD-E6D0-4570-B5FB-F95BA9130DEC}"/>
          </ac:spMkLst>
        </pc:spChg>
        <pc:spChg chg="add del">
          <ac:chgData name="Thomas Stensitzki" userId="75cafe6b-2f2a-469b-85c4-eec3b9c972ba" providerId="ADAL" clId="{9F9E9FDF-7C61-4792-941E-3BBD6C5DB2FE}" dt="2021-02-01T16:52:32.537" v="858" actId="478"/>
          <ac:spMkLst>
            <pc:docMk/>
            <pc:sldMk cId="1281650883" sldId="390"/>
            <ac:spMk id="4" creationId="{12541D46-FB2A-4FC8-8756-0718815220BE}"/>
          </ac:spMkLst>
        </pc:spChg>
        <pc:picChg chg="mod">
          <ac:chgData name="Thomas Stensitzki" userId="75cafe6b-2f2a-469b-85c4-eec3b9c972ba" providerId="ADAL" clId="{9F9E9FDF-7C61-4792-941E-3BBD6C5DB2FE}" dt="2021-02-02T12:41:19.513" v="1664" actId="1440"/>
          <ac:picMkLst>
            <pc:docMk/>
            <pc:sldMk cId="1281650883" sldId="390"/>
            <ac:picMk id="12290" creationId="{7853A3BB-F62F-44E0-B98E-81D92BD646D1}"/>
          </ac:picMkLst>
        </pc:picChg>
      </pc:sldChg>
      <pc:sldChg chg="addSp">
        <pc:chgData name="Thomas Stensitzki" userId="75cafe6b-2f2a-469b-85c4-eec3b9c972ba" providerId="ADAL" clId="{9F9E9FDF-7C61-4792-941E-3BBD6C5DB2FE}" dt="2021-02-01T16:52:39.752" v="859"/>
        <pc:sldMkLst>
          <pc:docMk/>
          <pc:sldMk cId="1513511166" sldId="390"/>
        </pc:sldMkLst>
        <pc:picChg chg="add">
          <ac:chgData name="Thomas Stensitzki" userId="75cafe6b-2f2a-469b-85c4-eec3b9c972ba" providerId="ADAL" clId="{9F9E9FDF-7C61-4792-941E-3BBD6C5DB2FE}" dt="2021-02-01T16:52:39.752" v="859"/>
          <ac:picMkLst>
            <pc:docMk/>
            <pc:sldMk cId="1513511166" sldId="390"/>
            <ac:picMk id="12290" creationId="{7853A3BB-F62F-44E0-B98E-81D92BD646D1}"/>
          </ac:picMkLst>
        </pc:picChg>
      </pc:sldChg>
      <pc:sldChg chg="addSp">
        <pc:chgData name="Thomas Stensitzki" userId="75cafe6b-2f2a-469b-85c4-eec3b9c972ba" providerId="ADAL" clId="{9F9E9FDF-7C61-4792-941E-3BBD6C5DB2FE}" dt="2021-02-01T17:05:20.262" v="1081"/>
        <pc:sldMkLst>
          <pc:docMk/>
          <pc:sldMk cId="945372120" sldId="391"/>
        </pc:sldMkLst>
        <pc:picChg chg="add">
          <ac:chgData name="Thomas Stensitzki" userId="75cafe6b-2f2a-469b-85c4-eec3b9c972ba" providerId="ADAL" clId="{9F9E9FDF-7C61-4792-941E-3BBD6C5DB2FE}" dt="2021-02-01T17:05:20.262" v="1081"/>
          <ac:picMkLst>
            <pc:docMk/>
            <pc:sldMk cId="945372120" sldId="391"/>
            <ac:picMk id="15362" creationId="{B90975DC-5162-4F41-B5F2-BBBE15E2112E}"/>
          </ac:picMkLst>
        </pc:picChg>
      </pc:sldChg>
      <pc:sldChg chg="addSp">
        <pc:chgData name="Thomas Stensitzki" userId="75cafe6b-2f2a-469b-85c4-eec3b9c972ba" providerId="ADAL" clId="{9F9E9FDF-7C61-4792-941E-3BBD6C5DB2FE}" dt="2021-02-01T17:05:27.412" v="1085"/>
        <pc:sldMkLst>
          <pc:docMk/>
          <pc:sldMk cId="1151788966" sldId="391"/>
        </pc:sldMkLst>
        <pc:picChg chg="add">
          <ac:chgData name="Thomas Stensitzki" userId="75cafe6b-2f2a-469b-85c4-eec3b9c972ba" providerId="ADAL" clId="{9F9E9FDF-7C61-4792-941E-3BBD6C5DB2FE}" dt="2021-02-01T17:05:27.412" v="1085"/>
          <ac:picMkLst>
            <pc:docMk/>
            <pc:sldMk cId="1151788966" sldId="391"/>
            <ac:picMk id="16386" creationId="{F2A275E7-9123-49B8-915C-3A94852B1686}"/>
          </ac:picMkLst>
        </pc:picChg>
      </pc:sldChg>
      <pc:sldChg chg="delSp modSp new add del mod ord modTransition modAnim">
        <pc:chgData name="Thomas Stensitzki" userId="75cafe6b-2f2a-469b-85c4-eec3b9c972ba" providerId="ADAL" clId="{9F9E9FDF-7C61-4792-941E-3BBD6C5DB2FE}" dt="2021-02-02T13:16:40.338" v="1799"/>
        <pc:sldMkLst>
          <pc:docMk/>
          <pc:sldMk cId="2585887928" sldId="391"/>
        </pc:sldMkLst>
        <pc:spChg chg="mod">
          <ac:chgData name="Thomas Stensitzki" userId="75cafe6b-2f2a-469b-85c4-eec3b9c972ba" providerId="ADAL" clId="{9F9E9FDF-7C61-4792-941E-3BBD6C5DB2FE}" dt="2021-02-01T17:05:13.081" v="1080"/>
          <ac:spMkLst>
            <pc:docMk/>
            <pc:sldMk cId="2585887928" sldId="391"/>
            <ac:spMk id="2" creationId="{11E5EEC8-6493-4BA0-8811-4A3F48FE62AF}"/>
          </ac:spMkLst>
        </pc:spChg>
        <pc:spChg chg="del">
          <ac:chgData name="Thomas Stensitzki" userId="75cafe6b-2f2a-469b-85c4-eec3b9c972ba" providerId="ADAL" clId="{9F9E9FDF-7C61-4792-941E-3BBD6C5DB2FE}" dt="2021-02-01T16:54:28.929" v="892" actId="478"/>
          <ac:spMkLst>
            <pc:docMk/>
            <pc:sldMk cId="2585887928" sldId="391"/>
            <ac:spMk id="3" creationId="{CAE56BB2-30FF-4890-8015-D3777AA14D19}"/>
          </ac:spMkLst>
        </pc:spChg>
        <pc:picChg chg="mod">
          <ac:chgData name="Thomas Stensitzki" userId="75cafe6b-2f2a-469b-85c4-eec3b9c972ba" providerId="ADAL" clId="{9F9E9FDF-7C61-4792-941E-3BBD6C5DB2FE}" dt="2021-02-02T13:15:11.072" v="1782" actId="1440"/>
          <ac:picMkLst>
            <pc:docMk/>
            <pc:sldMk cId="2585887928" sldId="391"/>
            <ac:picMk id="15362" creationId="{B90975DC-5162-4F41-B5F2-BBBE15E2112E}"/>
          </ac:picMkLst>
        </pc:picChg>
        <pc:picChg chg="mod">
          <ac:chgData name="Thomas Stensitzki" userId="75cafe6b-2f2a-469b-85c4-eec3b9c972ba" providerId="ADAL" clId="{9F9E9FDF-7C61-4792-941E-3BBD6C5DB2FE}" dt="2021-02-02T13:16:37.692" v="1798" actId="1076"/>
          <ac:picMkLst>
            <pc:docMk/>
            <pc:sldMk cId="2585887928" sldId="391"/>
            <ac:picMk id="16386" creationId="{F2A275E7-9123-49B8-915C-3A94852B1686}"/>
          </ac:picMkLst>
        </pc:picChg>
        <pc:picChg chg="del mod">
          <ac:chgData name="Thomas Stensitzki" userId="75cafe6b-2f2a-469b-85c4-eec3b9c972ba" providerId="ADAL" clId="{9F9E9FDF-7C61-4792-941E-3BBD6C5DB2FE}" dt="2021-02-02T13:16:30.043" v="1796" actId="478"/>
          <ac:picMkLst>
            <pc:docMk/>
            <pc:sldMk cId="2585887928" sldId="391"/>
            <ac:picMk id="17410" creationId="{EE942377-844A-497A-BCA1-1F49B9ADD376}"/>
          </ac:picMkLst>
        </pc:picChg>
        <pc:picChg chg="del mod">
          <ac:chgData name="Thomas Stensitzki" userId="75cafe6b-2f2a-469b-85c4-eec3b9c972ba" providerId="ADAL" clId="{9F9E9FDF-7C61-4792-941E-3BBD6C5DB2FE}" dt="2021-02-02T13:16:30.697" v="1797" actId="478"/>
          <ac:picMkLst>
            <pc:docMk/>
            <pc:sldMk cId="2585887928" sldId="391"/>
            <ac:picMk id="18434" creationId="{E18917D5-462E-425F-B1A7-02E0FDB5393A}"/>
          </ac:picMkLst>
        </pc:picChg>
      </pc:sldChg>
      <pc:sldChg chg="addSp">
        <pc:chgData name="Thomas Stensitzki" userId="75cafe6b-2f2a-469b-85c4-eec3b9c972ba" providerId="ADAL" clId="{9F9E9FDF-7C61-4792-941E-3BBD6C5DB2FE}" dt="2021-02-01T17:05:58.361" v="1093"/>
        <pc:sldMkLst>
          <pc:docMk/>
          <pc:sldMk cId="4010300682" sldId="391"/>
        </pc:sldMkLst>
        <pc:picChg chg="add">
          <ac:chgData name="Thomas Stensitzki" userId="75cafe6b-2f2a-469b-85c4-eec3b9c972ba" providerId="ADAL" clId="{9F9E9FDF-7C61-4792-941E-3BBD6C5DB2FE}" dt="2021-02-01T17:05:58.361" v="1093"/>
          <ac:picMkLst>
            <pc:docMk/>
            <pc:sldMk cId="4010300682" sldId="391"/>
            <ac:picMk id="18434" creationId="{E18917D5-462E-425F-B1A7-02E0FDB5393A}"/>
          </ac:picMkLst>
        </pc:picChg>
      </pc:sldChg>
      <pc:sldChg chg="addSp">
        <pc:chgData name="Thomas Stensitzki" userId="75cafe6b-2f2a-469b-85c4-eec3b9c972ba" providerId="ADAL" clId="{9F9E9FDF-7C61-4792-941E-3BBD6C5DB2FE}" dt="2021-02-01T17:05:50.791" v="1089"/>
        <pc:sldMkLst>
          <pc:docMk/>
          <pc:sldMk cId="4134506492" sldId="391"/>
        </pc:sldMkLst>
        <pc:picChg chg="add">
          <ac:chgData name="Thomas Stensitzki" userId="75cafe6b-2f2a-469b-85c4-eec3b9c972ba" providerId="ADAL" clId="{9F9E9FDF-7C61-4792-941E-3BBD6C5DB2FE}" dt="2021-02-01T17:05:50.791" v="1089"/>
          <ac:picMkLst>
            <pc:docMk/>
            <pc:sldMk cId="4134506492" sldId="391"/>
            <ac:picMk id="17410" creationId="{EE942377-844A-497A-BCA1-1F49B9ADD376}"/>
          </ac:picMkLst>
        </pc:picChg>
      </pc:sldChg>
      <pc:sldChg chg="addSp modSp add mod ord modTransition">
        <pc:chgData name="Thomas Stensitzki" userId="75cafe6b-2f2a-469b-85c4-eec3b9c972ba" providerId="ADAL" clId="{9F9E9FDF-7C61-4792-941E-3BBD6C5DB2FE}" dt="2021-02-02T13:14:44.120" v="1777" actId="1076"/>
        <pc:sldMkLst>
          <pc:docMk/>
          <pc:sldMk cId="2708846828" sldId="392"/>
        </pc:sldMkLst>
        <pc:picChg chg="add mod">
          <ac:chgData name="Thomas Stensitzki" userId="75cafe6b-2f2a-469b-85c4-eec3b9c972ba" providerId="ADAL" clId="{9F9E9FDF-7C61-4792-941E-3BBD6C5DB2FE}" dt="2021-02-02T13:14:44.120" v="1777" actId="1076"/>
          <ac:picMkLst>
            <pc:docMk/>
            <pc:sldMk cId="2708846828" sldId="392"/>
            <ac:picMk id="4" creationId="{4F4D8847-2D1E-4810-BA5F-7518BE667DB4}"/>
          </ac:picMkLst>
        </pc:picChg>
      </pc:sldChg>
      <pc:sldChg chg="modSp add del mod modTransition modNotesTx">
        <pc:chgData name="Thomas Stensitzki" userId="75cafe6b-2f2a-469b-85c4-eec3b9c972ba" providerId="ADAL" clId="{9F9E9FDF-7C61-4792-941E-3BBD6C5DB2FE}" dt="2021-02-02T13:02:45.293" v="1708" actId="1440"/>
        <pc:sldMkLst>
          <pc:docMk/>
          <pc:sldMk cId="63085039" sldId="393"/>
        </pc:sldMkLst>
        <pc:spChg chg="mod">
          <ac:chgData name="Thomas Stensitzki" userId="75cafe6b-2f2a-469b-85c4-eec3b9c972ba" providerId="ADAL" clId="{9F9E9FDF-7C61-4792-941E-3BBD6C5DB2FE}" dt="2021-02-01T17:13:42.016" v="1157"/>
          <ac:spMkLst>
            <pc:docMk/>
            <pc:sldMk cId="63085039" sldId="393"/>
            <ac:spMk id="2" creationId="{50183ADD-E6D0-4570-B5FB-F95BA9130DEC}"/>
          </ac:spMkLst>
        </pc:spChg>
        <pc:picChg chg="mod">
          <ac:chgData name="Thomas Stensitzki" userId="75cafe6b-2f2a-469b-85c4-eec3b9c972ba" providerId="ADAL" clId="{9F9E9FDF-7C61-4792-941E-3BBD6C5DB2FE}" dt="2021-02-02T13:02:45.293" v="1708" actId="1440"/>
          <ac:picMkLst>
            <pc:docMk/>
            <pc:sldMk cId="63085039" sldId="393"/>
            <ac:picMk id="20482" creationId="{A212661B-E975-4803-8346-25C0D9EF720B}"/>
          </ac:picMkLst>
        </pc:picChg>
      </pc:sldChg>
      <pc:sldChg chg="addSp">
        <pc:chgData name="Thomas Stensitzki" userId="75cafe6b-2f2a-469b-85c4-eec3b9c972ba" providerId="ADAL" clId="{9F9E9FDF-7C61-4792-941E-3BBD6C5DB2FE}" dt="2021-02-01T17:14:23.385" v="1172"/>
        <pc:sldMkLst>
          <pc:docMk/>
          <pc:sldMk cId="4246133730" sldId="393"/>
        </pc:sldMkLst>
        <pc:picChg chg="add">
          <ac:chgData name="Thomas Stensitzki" userId="75cafe6b-2f2a-469b-85c4-eec3b9c972ba" providerId="ADAL" clId="{9F9E9FDF-7C61-4792-941E-3BBD6C5DB2FE}" dt="2021-02-01T17:14:23.385" v="1172"/>
          <ac:picMkLst>
            <pc:docMk/>
            <pc:sldMk cId="4246133730" sldId="393"/>
            <ac:picMk id="20482" creationId="{A212661B-E975-4803-8346-25C0D9EF720B}"/>
          </ac:picMkLst>
        </pc:picChg>
      </pc:sldChg>
      <pc:sldChg chg="addSp delSp modSp add mod ord modTransition modNotesTx">
        <pc:chgData name="Thomas Stensitzki" userId="75cafe6b-2f2a-469b-85c4-eec3b9c972ba" providerId="ADAL" clId="{9F9E9FDF-7C61-4792-941E-3BBD6C5DB2FE}" dt="2021-02-02T12:42:29.825" v="1681" actId="1076"/>
        <pc:sldMkLst>
          <pc:docMk/>
          <pc:sldMk cId="3125518215" sldId="394"/>
        </pc:sldMkLst>
        <pc:spChg chg="mod">
          <ac:chgData name="Thomas Stensitzki" userId="75cafe6b-2f2a-469b-85c4-eec3b9c972ba" providerId="ADAL" clId="{9F9E9FDF-7C61-4792-941E-3BBD6C5DB2FE}" dt="2021-02-01T16:58:35.704" v="924"/>
          <ac:spMkLst>
            <pc:docMk/>
            <pc:sldMk cId="3125518215" sldId="394"/>
            <ac:spMk id="2" creationId="{50183ADD-E6D0-4570-B5FB-F95BA9130DEC}"/>
          </ac:spMkLst>
        </pc:spChg>
        <pc:picChg chg="add del mod">
          <ac:chgData name="Thomas Stensitzki" userId="75cafe6b-2f2a-469b-85c4-eec3b9c972ba" providerId="ADAL" clId="{9F9E9FDF-7C61-4792-941E-3BBD6C5DB2FE}" dt="2021-02-01T17:12:37.007" v="1146"/>
          <ac:picMkLst>
            <pc:docMk/>
            <pc:sldMk cId="3125518215" sldId="394"/>
            <ac:picMk id="3" creationId="{F65C3E2C-D2FC-4DBB-A0C0-8BA9A3100F72}"/>
          </ac:picMkLst>
        </pc:picChg>
        <pc:picChg chg="add mod">
          <ac:chgData name="Thomas Stensitzki" userId="75cafe6b-2f2a-469b-85c4-eec3b9c972ba" providerId="ADAL" clId="{9F9E9FDF-7C61-4792-941E-3BBD6C5DB2FE}" dt="2021-02-02T12:42:29.825" v="1681" actId="1076"/>
          <ac:picMkLst>
            <pc:docMk/>
            <pc:sldMk cId="3125518215" sldId="394"/>
            <ac:picMk id="4" creationId="{12785D05-5E49-4868-B8E4-454539F5AA8A}"/>
          </ac:picMkLst>
        </pc:picChg>
      </pc:sldChg>
      <pc:sldChg chg="modSp add mod ord modTransition">
        <pc:chgData name="Thomas Stensitzki" userId="75cafe6b-2f2a-469b-85c4-eec3b9c972ba" providerId="ADAL" clId="{9F9E9FDF-7C61-4792-941E-3BBD6C5DB2FE}" dt="2021-02-02T13:18:53.187" v="1838"/>
        <pc:sldMkLst>
          <pc:docMk/>
          <pc:sldMk cId="3389754536" sldId="395"/>
        </pc:sldMkLst>
        <pc:spChg chg="mod">
          <ac:chgData name="Thomas Stensitzki" userId="75cafe6b-2f2a-469b-85c4-eec3b9c972ba" providerId="ADAL" clId="{9F9E9FDF-7C61-4792-941E-3BBD6C5DB2FE}" dt="2021-02-01T17:06:26.701" v="1097"/>
          <ac:spMkLst>
            <pc:docMk/>
            <pc:sldMk cId="3389754536" sldId="395"/>
            <ac:spMk id="2" creationId="{11E5EEC8-6493-4BA0-8811-4A3F48FE62AF}"/>
          </ac:spMkLst>
        </pc:spChg>
      </pc:sldChg>
      <pc:sldChg chg="add del modTransition">
        <pc:chgData name="Thomas Stensitzki" userId="75cafe6b-2f2a-469b-85c4-eec3b9c972ba" providerId="ADAL" clId="{9F9E9FDF-7C61-4792-941E-3BBD6C5DB2FE}" dt="2021-02-02T13:18:40.287" v="1835" actId="47"/>
        <pc:sldMkLst>
          <pc:docMk/>
          <pc:sldMk cId="293137779" sldId="396"/>
        </pc:sldMkLst>
      </pc:sldChg>
      <pc:sldChg chg="modSp add mod modTransition modNotesTx">
        <pc:chgData name="Thomas Stensitzki" userId="75cafe6b-2f2a-469b-85c4-eec3b9c972ba" providerId="ADAL" clId="{9F9E9FDF-7C61-4792-941E-3BBD6C5DB2FE}" dt="2021-02-02T13:19:08.353" v="1840" actId="20577"/>
        <pc:sldMkLst>
          <pc:docMk/>
          <pc:sldMk cId="3169144543" sldId="397"/>
        </pc:sldMkLst>
        <pc:spChg chg="mod">
          <ac:chgData name="Thomas Stensitzki" userId="75cafe6b-2f2a-469b-85c4-eec3b9c972ba" providerId="ADAL" clId="{9F9E9FDF-7C61-4792-941E-3BBD6C5DB2FE}" dt="2021-02-02T13:18:27.180" v="1834" actId="14100"/>
          <ac:spMkLst>
            <pc:docMk/>
            <pc:sldMk cId="3169144543" sldId="397"/>
            <ac:spMk id="2" creationId="{909DC09D-B9A6-4493-9A72-1CA7ECB1F5CA}"/>
          </ac:spMkLst>
        </pc:spChg>
        <pc:spChg chg="mod">
          <ac:chgData name="Thomas Stensitzki" userId="75cafe6b-2f2a-469b-85c4-eec3b9c972ba" providerId="ADAL" clId="{9F9E9FDF-7C61-4792-941E-3BBD6C5DB2FE}" dt="2021-02-01T17:25:07.974" v="1463" actId="20577"/>
          <ac:spMkLst>
            <pc:docMk/>
            <pc:sldMk cId="3169144543" sldId="397"/>
            <ac:spMk id="5" creationId="{C24DACB5-1BEC-4C86-9652-BAFD8DE56FEF}"/>
          </ac:spMkLst>
        </pc:spChg>
      </pc:sldChg>
      <pc:sldChg chg="modSp add mod modTransition modNotesTx">
        <pc:chgData name="Thomas Stensitzki" userId="75cafe6b-2f2a-469b-85c4-eec3b9c972ba" providerId="ADAL" clId="{9F9E9FDF-7C61-4792-941E-3BBD6C5DB2FE}" dt="2021-02-02T13:06:32.909" v="1757"/>
        <pc:sldMkLst>
          <pc:docMk/>
          <pc:sldMk cId="482102076" sldId="398"/>
        </pc:sldMkLst>
        <pc:spChg chg="mod">
          <ac:chgData name="Thomas Stensitzki" userId="75cafe6b-2f2a-469b-85c4-eec3b9c972ba" providerId="ADAL" clId="{9F9E9FDF-7C61-4792-941E-3BBD6C5DB2FE}" dt="2021-02-02T12:52:39.821" v="1694" actId="1036"/>
          <ac:spMkLst>
            <pc:docMk/>
            <pc:sldMk cId="482102076" sldId="398"/>
            <ac:spMk id="2" creationId="{909DC09D-B9A6-4493-9A72-1CA7ECB1F5CA}"/>
          </ac:spMkLst>
        </pc:spChg>
        <pc:spChg chg="mod">
          <ac:chgData name="Thomas Stensitzki" userId="75cafe6b-2f2a-469b-85c4-eec3b9c972ba" providerId="ADAL" clId="{9F9E9FDF-7C61-4792-941E-3BBD6C5DB2FE}" dt="2021-02-02T13:06:32.909" v="1757"/>
          <ac:spMkLst>
            <pc:docMk/>
            <pc:sldMk cId="482102076" sldId="398"/>
            <ac:spMk id="5" creationId="{C24DACB5-1BEC-4C86-9652-BAFD8DE56FEF}"/>
          </ac:spMkLst>
        </pc:spChg>
      </pc:sldChg>
      <pc:sldChg chg="addSp">
        <pc:chgData name="Thomas Stensitzki" userId="75cafe6b-2f2a-469b-85c4-eec3b9c972ba" providerId="ADAL" clId="{9F9E9FDF-7C61-4792-941E-3BBD6C5DB2FE}" dt="2021-02-01T17:28:31.521" v="1504"/>
        <pc:sldMkLst>
          <pc:docMk/>
          <pc:sldMk cId="3485267665" sldId="399"/>
        </pc:sldMkLst>
        <pc:picChg chg="add">
          <ac:chgData name="Thomas Stensitzki" userId="75cafe6b-2f2a-469b-85c4-eec3b9c972ba" providerId="ADAL" clId="{9F9E9FDF-7C61-4792-941E-3BBD6C5DB2FE}" dt="2021-02-01T17:28:31.521" v="1504"/>
          <ac:picMkLst>
            <pc:docMk/>
            <pc:sldMk cId="3485267665" sldId="399"/>
            <ac:picMk id="22530" creationId="{EF8A0CF6-EBB1-47C5-B089-EDBB735405DB}"/>
          </ac:picMkLst>
        </pc:picChg>
      </pc:sldChg>
      <pc:sldChg chg="modSp add del mod modTransition modNotesTx">
        <pc:chgData name="Thomas Stensitzki" userId="75cafe6b-2f2a-469b-85c4-eec3b9c972ba" providerId="ADAL" clId="{9F9E9FDF-7C61-4792-941E-3BBD6C5DB2FE}" dt="2021-02-02T13:05:23.236" v="1737" actId="1440"/>
        <pc:sldMkLst>
          <pc:docMk/>
          <pc:sldMk cId="3771242240" sldId="399"/>
        </pc:sldMkLst>
        <pc:spChg chg="mod">
          <ac:chgData name="Thomas Stensitzki" userId="75cafe6b-2f2a-469b-85c4-eec3b9c972ba" providerId="ADAL" clId="{9F9E9FDF-7C61-4792-941E-3BBD6C5DB2FE}" dt="2021-02-01T17:28:26.346" v="1503"/>
          <ac:spMkLst>
            <pc:docMk/>
            <pc:sldMk cId="3771242240" sldId="399"/>
            <ac:spMk id="2" creationId="{50183ADD-E6D0-4570-B5FB-F95BA9130DEC}"/>
          </ac:spMkLst>
        </pc:spChg>
        <pc:picChg chg="mod">
          <ac:chgData name="Thomas Stensitzki" userId="75cafe6b-2f2a-469b-85c4-eec3b9c972ba" providerId="ADAL" clId="{9F9E9FDF-7C61-4792-941E-3BBD6C5DB2FE}" dt="2021-02-02T13:05:23.236" v="1737" actId="1440"/>
          <ac:picMkLst>
            <pc:docMk/>
            <pc:sldMk cId="3771242240" sldId="399"/>
            <ac:picMk id="22530" creationId="{EF8A0CF6-EBB1-47C5-B089-EDBB735405DB}"/>
          </ac:picMkLst>
        </pc:picChg>
      </pc:sldChg>
      <pc:sldChg chg="addSp modSp add mod modTransition modAnim modNotesTx">
        <pc:chgData name="Thomas Stensitzki" userId="75cafe6b-2f2a-469b-85c4-eec3b9c972ba" providerId="ADAL" clId="{9F9E9FDF-7C61-4792-941E-3BBD6C5DB2FE}" dt="2021-02-02T13:04:36.215" v="1725" actId="14100"/>
        <pc:sldMkLst>
          <pc:docMk/>
          <pc:sldMk cId="425308375" sldId="400"/>
        </pc:sldMkLst>
        <pc:spChg chg="mod">
          <ac:chgData name="Thomas Stensitzki" userId="75cafe6b-2f2a-469b-85c4-eec3b9c972ba" providerId="ADAL" clId="{9F9E9FDF-7C61-4792-941E-3BBD6C5DB2FE}" dt="2021-02-01T17:15:38.954" v="1203" actId="20577"/>
          <ac:spMkLst>
            <pc:docMk/>
            <pc:sldMk cId="425308375" sldId="400"/>
            <ac:spMk id="2" creationId="{50183ADD-E6D0-4570-B5FB-F95BA9130DEC}"/>
          </ac:spMkLst>
        </pc:spChg>
        <pc:spChg chg="add mod">
          <ac:chgData name="Thomas Stensitzki" userId="75cafe6b-2f2a-469b-85c4-eec3b9c972ba" providerId="ADAL" clId="{9F9E9FDF-7C61-4792-941E-3BBD6C5DB2FE}" dt="2021-02-02T13:04:36.215" v="1725" actId="14100"/>
          <ac:spMkLst>
            <pc:docMk/>
            <pc:sldMk cId="425308375" sldId="400"/>
            <ac:spMk id="5" creationId="{FCF996B8-EE24-4322-A598-0FCE05AE77D5}"/>
          </ac:spMkLst>
        </pc:spChg>
        <pc:picChg chg="add mod">
          <ac:chgData name="Thomas Stensitzki" userId="75cafe6b-2f2a-469b-85c4-eec3b9c972ba" providerId="ADAL" clId="{9F9E9FDF-7C61-4792-941E-3BBD6C5DB2FE}" dt="2021-02-02T13:04:31.511" v="1724" actId="1076"/>
          <ac:picMkLst>
            <pc:docMk/>
            <pc:sldMk cId="425308375" sldId="400"/>
            <ac:picMk id="3" creationId="{8EB4E173-662F-417E-9197-857FCAF37B61}"/>
          </ac:picMkLst>
        </pc:picChg>
        <pc:picChg chg="add mod">
          <ac:chgData name="Thomas Stensitzki" userId="75cafe6b-2f2a-469b-85c4-eec3b9c972ba" providerId="ADAL" clId="{9F9E9FDF-7C61-4792-941E-3BBD6C5DB2FE}" dt="2021-02-02T13:03:23.633" v="1714" actId="1440"/>
          <ac:picMkLst>
            <pc:docMk/>
            <pc:sldMk cId="425308375" sldId="400"/>
            <ac:picMk id="4" creationId="{F4B40881-C338-4763-A029-3B7DC696DC34}"/>
          </ac:picMkLst>
        </pc:picChg>
      </pc:sldChg>
      <pc:sldChg chg="add del modTransition">
        <pc:chgData name="Thomas Stensitzki" userId="75cafe6b-2f2a-469b-85c4-eec3b9c972ba" providerId="ADAL" clId="{9F9E9FDF-7C61-4792-941E-3BBD6C5DB2FE}" dt="2021-02-02T13:06:41.388" v="1758" actId="47"/>
        <pc:sldMkLst>
          <pc:docMk/>
          <pc:sldMk cId="1085090997" sldId="401"/>
        </pc:sldMkLst>
      </pc:sldChg>
      <pc:sldChg chg="addSp">
        <pc:chgData name="Thomas Stensitzki" userId="75cafe6b-2f2a-469b-85c4-eec3b9c972ba" providerId="ADAL" clId="{9F9E9FDF-7C61-4792-941E-3BBD6C5DB2FE}" dt="2021-02-01T17:15:55.241" v="1207"/>
        <pc:sldMkLst>
          <pc:docMk/>
          <pc:sldMk cId="2128800882" sldId="402"/>
        </pc:sldMkLst>
        <pc:picChg chg="add">
          <ac:chgData name="Thomas Stensitzki" userId="75cafe6b-2f2a-469b-85c4-eec3b9c972ba" providerId="ADAL" clId="{9F9E9FDF-7C61-4792-941E-3BBD6C5DB2FE}" dt="2021-02-01T17:15:55.241" v="1207"/>
          <ac:picMkLst>
            <pc:docMk/>
            <pc:sldMk cId="2128800882" sldId="402"/>
            <ac:picMk id="21506" creationId="{C3C61B88-DA23-4330-B34D-216A1F942FEF}"/>
          </ac:picMkLst>
        </pc:picChg>
      </pc:sldChg>
      <pc:sldChg chg="addSp delSp modSp add del mod modTransition modAnim modNotesTx">
        <pc:chgData name="Thomas Stensitzki" userId="75cafe6b-2f2a-469b-85c4-eec3b9c972ba" providerId="ADAL" clId="{9F9E9FDF-7C61-4792-941E-3BBD6C5DB2FE}" dt="2021-02-02T13:07:04.146" v="1763"/>
        <pc:sldMkLst>
          <pc:docMk/>
          <pc:sldMk cId="3556353505" sldId="402"/>
        </pc:sldMkLst>
        <pc:spChg chg="mod">
          <ac:chgData name="Thomas Stensitzki" userId="75cafe6b-2f2a-469b-85c4-eec3b9c972ba" providerId="ADAL" clId="{9F9E9FDF-7C61-4792-941E-3BBD6C5DB2FE}" dt="2021-02-01T17:29:02.402" v="1507"/>
          <ac:spMkLst>
            <pc:docMk/>
            <pc:sldMk cId="3556353505" sldId="402"/>
            <ac:spMk id="2" creationId="{50183ADD-E6D0-4570-B5FB-F95BA9130DEC}"/>
          </ac:spMkLst>
        </pc:spChg>
        <pc:picChg chg="add del mod">
          <ac:chgData name="Thomas Stensitzki" userId="75cafe6b-2f2a-469b-85c4-eec3b9c972ba" providerId="ADAL" clId="{9F9E9FDF-7C61-4792-941E-3BBD6C5DB2FE}" dt="2021-02-01T17:17:41.325" v="1216" actId="478"/>
          <ac:picMkLst>
            <pc:docMk/>
            <pc:sldMk cId="3556353505" sldId="402"/>
            <ac:picMk id="4" creationId="{D96DA14E-1E36-4B14-B466-0A5021045F3D}"/>
          </ac:picMkLst>
        </pc:picChg>
        <pc:picChg chg="del mod">
          <ac:chgData name="Thomas Stensitzki" userId="75cafe6b-2f2a-469b-85c4-eec3b9c972ba" providerId="ADAL" clId="{9F9E9FDF-7C61-4792-941E-3BBD6C5DB2FE}" dt="2021-02-01T17:17:41.325" v="1216" actId="478"/>
          <ac:picMkLst>
            <pc:docMk/>
            <pc:sldMk cId="3556353505" sldId="402"/>
            <ac:picMk id="21506" creationId="{C3C61B88-DA23-4330-B34D-216A1F942FEF}"/>
          </ac:picMkLst>
        </pc:picChg>
        <pc:picChg chg="mod">
          <ac:chgData name="Thomas Stensitzki" userId="75cafe6b-2f2a-469b-85c4-eec3b9c972ba" providerId="ADAL" clId="{9F9E9FDF-7C61-4792-941E-3BBD6C5DB2FE}" dt="2021-02-02T13:06:51.055" v="1760" actId="1440"/>
          <ac:picMkLst>
            <pc:docMk/>
            <pc:sldMk cId="3556353505" sldId="402"/>
            <ac:picMk id="23554" creationId="{F5FDDD86-DAEF-47CB-9EDD-2FDD418290C6}"/>
          </ac:picMkLst>
        </pc:picChg>
        <pc:picChg chg="mod">
          <ac:chgData name="Thomas Stensitzki" userId="75cafe6b-2f2a-469b-85c4-eec3b9c972ba" providerId="ADAL" clId="{9F9E9FDF-7C61-4792-941E-3BBD6C5DB2FE}" dt="2021-02-02T13:06:59.503" v="1762" actId="1076"/>
          <ac:picMkLst>
            <pc:docMk/>
            <pc:sldMk cId="3556353505" sldId="402"/>
            <ac:picMk id="24578" creationId="{7AC08E14-008C-49B1-9CD0-E4AD1B6ED434}"/>
          </ac:picMkLst>
        </pc:picChg>
      </pc:sldChg>
      <pc:sldChg chg="addSp">
        <pc:chgData name="Thomas Stensitzki" userId="75cafe6b-2f2a-469b-85c4-eec3b9c972ba" providerId="ADAL" clId="{9F9E9FDF-7C61-4792-941E-3BBD6C5DB2FE}" dt="2021-02-01T17:29:38.916" v="1513"/>
        <pc:sldMkLst>
          <pc:docMk/>
          <pc:sldMk cId="3846898001" sldId="402"/>
        </pc:sldMkLst>
        <pc:picChg chg="add">
          <ac:chgData name="Thomas Stensitzki" userId="75cafe6b-2f2a-469b-85c4-eec3b9c972ba" providerId="ADAL" clId="{9F9E9FDF-7C61-4792-941E-3BBD6C5DB2FE}" dt="2021-02-01T17:29:38.916" v="1513"/>
          <ac:picMkLst>
            <pc:docMk/>
            <pc:sldMk cId="3846898001" sldId="402"/>
            <ac:picMk id="23554" creationId="{F5FDDD86-DAEF-47CB-9EDD-2FDD418290C6}"/>
          </ac:picMkLst>
        </pc:picChg>
      </pc:sldChg>
      <pc:sldChg chg="addSp">
        <pc:chgData name="Thomas Stensitzki" userId="75cafe6b-2f2a-469b-85c4-eec3b9c972ba" providerId="ADAL" clId="{9F9E9FDF-7C61-4792-941E-3BBD6C5DB2FE}" dt="2021-02-01T17:29:50.964" v="1517"/>
        <pc:sldMkLst>
          <pc:docMk/>
          <pc:sldMk cId="3942718026" sldId="402"/>
        </pc:sldMkLst>
        <pc:picChg chg="add">
          <ac:chgData name="Thomas Stensitzki" userId="75cafe6b-2f2a-469b-85c4-eec3b9c972ba" providerId="ADAL" clId="{9F9E9FDF-7C61-4792-941E-3BBD6C5DB2FE}" dt="2021-02-01T17:29:50.964" v="1517"/>
          <ac:picMkLst>
            <pc:docMk/>
            <pc:sldMk cId="3942718026" sldId="402"/>
            <ac:picMk id="24578" creationId="{7AC08E14-008C-49B1-9CD0-E4AD1B6ED434}"/>
          </ac:picMkLst>
        </pc:picChg>
      </pc:sldChg>
      <pc:sldChg chg="modSp add mod modTransition modNotesTx">
        <pc:chgData name="Thomas Stensitzki" userId="75cafe6b-2f2a-469b-85c4-eec3b9c972ba" providerId="ADAL" clId="{9F9E9FDF-7C61-4792-941E-3BBD6C5DB2FE}" dt="2021-02-02T13:19:58.795" v="1851" actId="6549"/>
        <pc:sldMkLst>
          <pc:docMk/>
          <pc:sldMk cId="3957297632" sldId="403"/>
        </pc:sldMkLst>
        <pc:spChg chg="mod">
          <ac:chgData name="Thomas Stensitzki" userId="75cafe6b-2f2a-469b-85c4-eec3b9c972ba" providerId="ADAL" clId="{9F9E9FDF-7C61-4792-941E-3BBD6C5DB2FE}" dt="2021-02-02T13:19:55.688" v="1850" actId="1076"/>
          <ac:spMkLst>
            <pc:docMk/>
            <pc:sldMk cId="3957297632" sldId="403"/>
            <ac:spMk id="2" creationId="{909DC09D-B9A6-4493-9A72-1CA7ECB1F5CA}"/>
          </ac:spMkLst>
        </pc:spChg>
        <pc:spChg chg="mod">
          <ac:chgData name="Thomas Stensitzki" userId="75cafe6b-2f2a-469b-85c4-eec3b9c972ba" providerId="ADAL" clId="{9F9E9FDF-7C61-4792-941E-3BBD6C5DB2FE}" dt="2021-02-01T17:27:36.898" v="1480" actId="20577"/>
          <ac:spMkLst>
            <pc:docMk/>
            <pc:sldMk cId="3957297632" sldId="403"/>
            <ac:spMk id="5" creationId="{C24DACB5-1BEC-4C86-9652-BAFD8DE56FEF}"/>
          </ac:spMkLst>
        </pc:spChg>
      </pc:sldChg>
      <pc:sldChg chg="modSp add mod ord">
        <pc:chgData name="Thomas Stensitzki" userId="75cafe6b-2f2a-469b-85c4-eec3b9c972ba" providerId="ADAL" clId="{9F9E9FDF-7C61-4792-941E-3BBD6C5DB2FE}" dt="2021-02-02T12:16:28.806" v="1544" actId="1076"/>
        <pc:sldMkLst>
          <pc:docMk/>
          <pc:sldMk cId="4270566703" sldId="404"/>
        </pc:sldMkLst>
        <pc:spChg chg="mod">
          <ac:chgData name="Thomas Stensitzki" userId="75cafe6b-2f2a-469b-85c4-eec3b9c972ba" providerId="ADAL" clId="{9F9E9FDF-7C61-4792-941E-3BBD6C5DB2FE}" dt="2021-02-02T12:16:28.806" v="1544" actId="1076"/>
          <ac:spMkLst>
            <pc:docMk/>
            <pc:sldMk cId="4270566703" sldId="404"/>
            <ac:spMk id="2" creationId="{909DC09D-B9A6-4493-9A72-1CA7ECB1F5CA}"/>
          </ac:spMkLst>
        </pc:spChg>
      </pc:sldChg>
      <pc:sldChg chg="modSp add mod">
        <pc:chgData name="Thomas Stensitzki" userId="75cafe6b-2f2a-469b-85c4-eec3b9c972ba" providerId="ADAL" clId="{9F9E9FDF-7C61-4792-941E-3BBD6C5DB2FE}" dt="2021-02-02T12:16:50.712" v="1547" actId="14100"/>
        <pc:sldMkLst>
          <pc:docMk/>
          <pc:sldMk cId="21006271" sldId="405"/>
        </pc:sldMkLst>
        <pc:spChg chg="mod">
          <ac:chgData name="Thomas Stensitzki" userId="75cafe6b-2f2a-469b-85c4-eec3b9c972ba" providerId="ADAL" clId="{9F9E9FDF-7C61-4792-941E-3BBD6C5DB2FE}" dt="2021-02-02T12:16:50.712" v="1547" actId="14100"/>
          <ac:spMkLst>
            <pc:docMk/>
            <pc:sldMk cId="21006271" sldId="405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9F9E9FDF-7C61-4792-941E-3BBD6C5DB2FE}" dt="2021-02-02T12:18:30.841" v="1558" actId="1076"/>
        <pc:sldMkLst>
          <pc:docMk/>
          <pc:sldMk cId="550572939" sldId="406"/>
        </pc:sldMkLst>
        <pc:spChg chg="mod">
          <ac:chgData name="Thomas Stensitzki" userId="75cafe6b-2f2a-469b-85c4-eec3b9c972ba" providerId="ADAL" clId="{9F9E9FDF-7C61-4792-941E-3BBD6C5DB2FE}" dt="2021-02-02T12:18:30.841" v="1558" actId="1076"/>
          <ac:spMkLst>
            <pc:docMk/>
            <pc:sldMk cId="550572939" sldId="406"/>
            <ac:spMk id="2" creationId="{909DC09D-B9A6-4493-9A72-1CA7ECB1F5CA}"/>
          </ac:spMkLst>
        </pc:spChg>
      </pc:sldChg>
      <pc:sldChg chg="add del">
        <pc:chgData name="Thomas Stensitzki" userId="75cafe6b-2f2a-469b-85c4-eec3b9c972ba" providerId="ADAL" clId="{9F9E9FDF-7C61-4792-941E-3BBD6C5DB2FE}" dt="2021-02-02T12:20:47.203" v="1564" actId="22"/>
        <pc:sldMkLst>
          <pc:docMk/>
          <pc:sldMk cId="1044965248" sldId="407"/>
        </pc:sldMkLst>
      </pc:sldChg>
      <pc:sldChg chg="modSp add mod ord">
        <pc:chgData name="Thomas Stensitzki" userId="75cafe6b-2f2a-469b-85c4-eec3b9c972ba" providerId="ADAL" clId="{9F9E9FDF-7C61-4792-941E-3BBD6C5DB2FE}" dt="2021-02-02T12:21:01.223" v="1569" actId="14100"/>
        <pc:sldMkLst>
          <pc:docMk/>
          <pc:sldMk cId="3064330710" sldId="407"/>
        </pc:sldMkLst>
        <pc:spChg chg="mod">
          <ac:chgData name="Thomas Stensitzki" userId="75cafe6b-2f2a-469b-85c4-eec3b9c972ba" providerId="ADAL" clId="{9F9E9FDF-7C61-4792-941E-3BBD6C5DB2FE}" dt="2021-02-02T12:21:01.223" v="1569" actId="14100"/>
          <ac:spMkLst>
            <pc:docMk/>
            <pc:sldMk cId="3064330710" sldId="407"/>
            <ac:spMk id="2" creationId="{909DC09D-B9A6-4493-9A72-1CA7ECB1F5CA}"/>
          </ac:spMkLst>
        </pc:spChg>
      </pc:sldChg>
      <pc:sldChg chg="modSp add mod ord modNotesTx">
        <pc:chgData name="Thomas Stensitzki" userId="75cafe6b-2f2a-469b-85c4-eec3b9c972ba" providerId="ADAL" clId="{9F9E9FDF-7C61-4792-941E-3BBD6C5DB2FE}" dt="2021-02-02T12:25:10.336" v="1607" actId="20577"/>
        <pc:sldMkLst>
          <pc:docMk/>
          <pc:sldMk cId="1323954105" sldId="408"/>
        </pc:sldMkLst>
        <pc:spChg chg="mod">
          <ac:chgData name="Thomas Stensitzki" userId="75cafe6b-2f2a-469b-85c4-eec3b9c972ba" providerId="ADAL" clId="{9F9E9FDF-7C61-4792-941E-3BBD6C5DB2FE}" dt="2021-02-02T12:25:08.442" v="1606" actId="1076"/>
          <ac:spMkLst>
            <pc:docMk/>
            <pc:sldMk cId="1323954105" sldId="408"/>
            <ac:spMk id="2" creationId="{909DC09D-B9A6-4493-9A72-1CA7ECB1F5CA}"/>
          </ac:spMkLst>
        </pc:spChg>
      </pc:sldChg>
      <pc:sldChg chg="add del ord">
        <pc:chgData name="Thomas Stensitzki" userId="75cafe6b-2f2a-469b-85c4-eec3b9c972ba" providerId="ADAL" clId="{9F9E9FDF-7C61-4792-941E-3BBD6C5DB2FE}" dt="2021-02-02T12:24:36.836" v="1601" actId="47"/>
        <pc:sldMkLst>
          <pc:docMk/>
          <pc:sldMk cId="2400166738" sldId="408"/>
        </pc:sldMkLst>
      </pc:sldChg>
      <pc:sldChg chg="modSp add mod ord modTransition">
        <pc:chgData name="Thomas Stensitzki" userId="75cafe6b-2f2a-469b-85c4-eec3b9c972ba" providerId="ADAL" clId="{9F9E9FDF-7C61-4792-941E-3BBD6C5DB2FE}" dt="2021-02-02T12:28:48.157" v="1628" actId="14100"/>
        <pc:sldMkLst>
          <pc:docMk/>
          <pc:sldMk cId="974386544" sldId="409"/>
        </pc:sldMkLst>
        <pc:spChg chg="mod">
          <ac:chgData name="Thomas Stensitzki" userId="75cafe6b-2f2a-469b-85c4-eec3b9c972ba" providerId="ADAL" clId="{9F9E9FDF-7C61-4792-941E-3BBD6C5DB2FE}" dt="2021-02-02T12:28:48.157" v="1628" actId="14100"/>
          <ac:spMkLst>
            <pc:docMk/>
            <pc:sldMk cId="974386544" sldId="409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9F9E9FDF-7C61-4792-941E-3BBD6C5DB2FE}" dt="2021-02-02T12:30:11.295" v="1643" actId="14100"/>
        <pc:sldMkLst>
          <pc:docMk/>
          <pc:sldMk cId="179439695" sldId="410"/>
        </pc:sldMkLst>
        <pc:spChg chg="mod">
          <ac:chgData name="Thomas Stensitzki" userId="75cafe6b-2f2a-469b-85c4-eec3b9c972ba" providerId="ADAL" clId="{9F9E9FDF-7C61-4792-941E-3BBD6C5DB2FE}" dt="2021-02-02T12:30:11.295" v="1643" actId="14100"/>
          <ac:spMkLst>
            <pc:docMk/>
            <pc:sldMk cId="179439695" sldId="410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9F9E9FDF-7C61-4792-941E-3BBD6C5DB2FE}" dt="2021-02-02T12:41:07.474" v="1659" actId="14100"/>
        <pc:sldMkLst>
          <pc:docMk/>
          <pc:sldMk cId="3385880885" sldId="411"/>
        </pc:sldMkLst>
        <pc:spChg chg="mod">
          <ac:chgData name="Thomas Stensitzki" userId="75cafe6b-2f2a-469b-85c4-eec3b9c972ba" providerId="ADAL" clId="{9F9E9FDF-7C61-4792-941E-3BBD6C5DB2FE}" dt="2021-02-02T12:41:07.474" v="1659" actId="14100"/>
          <ac:spMkLst>
            <pc:docMk/>
            <pc:sldMk cId="3385880885" sldId="411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9F9E9FDF-7C61-4792-941E-3BBD6C5DB2FE}" dt="2021-02-02T12:41:38.118" v="1670" actId="14100"/>
        <pc:sldMkLst>
          <pc:docMk/>
          <pc:sldMk cId="439447182" sldId="412"/>
        </pc:sldMkLst>
        <pc:spChg chg="mod">
          <ac:chgData name="Thomas Stensitzki" userId="75cafe6b-2f2a-469b-85c4-eec3b9c972ba" providerId="ADAL" clId="{9F9E9FDF-7C61-4792-941E-3BBD6C5DB2FE}" dt="2021-02-02T12:41:38.118" v="1670" actId="14100"/>
          <ac:spMkLst>
            <pc:docMk/>
            <pc:sldMk cId="439447182" sldId="412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9F9E9FDF-7C61-4792-941E-3BBD6C5DB2FE}" dt="2021-02-02T12:42:15.645" v="1677" actId="1076"/>
        <pc:sldMkLst>
          <pc:docMk/>
          <pc:sldMk cId="2971012066" sldId="413"/>
        </pc:sldMkLst>
        <pc:spChg chg="mod">
          <ac:chgData name="Thomas Stensitzki" userId="75cafe6b-2f2a-469b-85c4-eec3b9c972ba" providerId="ADAL" clId="{9F9E9FDF-7C61-4792-941E-3BBD6C5DB2FE}" dt="2021-02-02T12:42:15.645" v="1677" actId="1076"/>
          <ac:spMkLst>
            <pc:docMk/>
            <pc:sldMk cId="2971012066" sldId="413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9F9E9FDF-7C61-4792-941E-3BBD6C5DB2FE}" dt="2021-02-02T12:52:08.234" v="1685" actId="1076"/>
        <pc:sldMkLst>
          <pc:docMk/>
          <pc:sldMk cId="1183984408" sldId="414"/>
        </pc:sldMkLst>
        <pc:spChg chg="mod">
          <ac:chgData name="Thomas Stensitzki" userId="75cafe6b-2f2a-469b-85c4-eec3b9c972ba" providerId="ADAL" clId="{9F9E9FDF-7C61-4792-941E-3BBD6C5DB2FE}" dt="2021-02-02T12:52:08.234" v="1685" actId="1076"/>
          <ac:spMkLst>
            <pc:docMk/>
            <pc:sldMk cId="1183984408" sldId="414"/>
            <ac:spMk id="2" creationId="{909DC09D-B9A6-4493-9A72-1CA7ECB1F5CA}"/>
          </ac:spMkLst>
        </pc:spChg>
      </pc:sldChg>
      <pc:sldChg chg="modSp add mod ord modTransition">
        <pc:chgData name="Thomas Stensitzki" userId="75cafe6b-2f2a-469b-85c4-eec3b9c972ba" providerId="ADAL" clId="{9F9E9FDF-7C61-4792-941E-3BBD6C5DB2FE}" dt="2021-02-02T13:06:28.027" v="1756"/>
        <pc:sldMkLst>
          <pc:docMk/>
          <pc:sldMk cId="1388017731" sldId="415"/>
        </pc:sldMkLst>
        <pc:spChg chg="mod">
          <ac:chgData name="Thomas Stensitzki" userId="75cafe6b-2f2a-469b-85c4-eec3b9c972ba" providerId="ADAL" clId="{9F9E9FDF-7C61-4792-941E-3BBD6C5DB2FE}" dt="2021-02-02T13:02:33.697" v="1707" actId="1076"/>
          <ac:spMkLst>
            <pc:docMk/>
            <pc:sldMk cId="1388017731" sldId="415"/>
            <ac:spMk id="2" creationId="{909DC09D-B9A6-4493-9A72-1CA7ECB1F5CA}"/>
          </ac:spMkLst>
        </pc:spChg>
        <pc:spChg chg="mod">
          <ac:chgData name="Thomas Stensitzki" userId="75cafe6b-2f2a-469b-85c4-eec3b9c972ba" providerId="ADAL" clId="{9F9E9FDF-7C61-4792-941E-3BBD6C5DB2FE}" dt="2021-02-02T13:06:28.027" v="1756"/>
          <ac:spMkLst>
            <pc:docMk/>
            <pc:sldMk cId="1388017731" sldId="415"/>
            <ac:spMk id="5" creationId="{C24DACB5-1BEC-4C86-9652-BAFD8DE56FEF}"/>
          </ac:spMkLst>
        </pc:spChg>
      </pc:sldChg>
      <pc:sldChg chg="modSp add mod ord">
        <pc:chgData name="Thomas Stensitzki" userId="75cafe6b-2f2a-469b-85c4-eec3b9c972ba" providerId="ADAL" clId="{9F9E9FDF-7C61-4792-941E-3BBD6C5DB2FE}" dt="2021-02-02T13:06:23.328" v="1755"/>
        <pc:sldMkLst>
          <pc:docMk/>
          <pc:sldMk cId="1390187629" sldId="416"/>
        </pc:sldMkLst>
        <pc:spChg chg="mod">
          <ac:chgData name="Thomas Stensitzki" userId="75cafe6b-2f2a-469b-85c4-eec3b9c972ba" providerId="ADAL" clId="{9F9E9FDF-7C61-4792-941E-3BBD6C5DB2FE}" dt="2021-02-02T13:04:55.161" v="1730" actId="14100"/>
          <ac:spMkLst>
            <pc:docMk/>
            <pc:sldMk cId="1390187629" sldId="416"/>
            <ac:spMk id="2" creationId="{909DC09D-B9A6-4493-9A72-1CA7ECB1F5CA}"/>
          </ac:spMkLst>
        </pc:spChg>
        <pc:spChg chg="mod">
          <ac:chgData name="Thomas Stensitzki" userId="75cafe6b-2f2a-469b-85c4-eec3b9c972ba" providerId="ADAL" clId="{9F9E9FDF-7C61-4792-941E-3BBD6C5DB2FE}" dt="2021-02-02T13:06:23.328" v="1755"/>
          <ac:spMkLst>
            <pc:docMk/>
            <pc:sldMk cId="1390187629" sldId="416"/>
            <ac:spMk id="5" creationId="{C24DACB5-1BEC-4C86-9652-BAFD8DE56FEF}"/>
          </ac:spMkLst>
        </pc:spChg>
      </pc:sldChg>
      <pc:sldChg chg="add del ord">
        <pc:chgData name="Thomas Stensitzki" userId="75cafe6b-2f2a-469b-85c4-eec3b9c972ba" providerId="ADAL" clId="{9F9E9FDF-7C61-4792-941E-3BBD6C5DB2FE}" dt="2021-02-02T13:05:00.073" v="1731" actId="47"/>
        <pc:sldMkLst>
          <pc:docMk/>
          <pc:sldMk cId="2205660386" sldId="417"/>
        </pc:sldMkLst>
      </pc:sldChg>
      <pc:sldChg chg="modSp add mod ord">
        <pc:chgData name="Thomas Stensitzki" userId="75cafe6b-2f2a-469b-85c4-eec3b9c972ba" providerId="ADAL" clId="{9F9E9FDF-7C61-4792-941E-3BBD6C5DB2FE}" dt="2021-02-02T13:06:11.123" v="1753" actId="20577"/>
        <pc:sldMkLst>
          <pc:docMk/>
          <pc:sldMk cId="3737910627" sldId="417"/>
        </pc:sldMkLst>
        <pc:spChg chg="mod">
          <ac:chgData name="Thomas Stensitzki" userId="75cafe6b-2f2a-469b-85c4-eec3b9c972ba" providerId="ADAL" clId="{9F9E9FDF-7C61-4792-941E-3BBD6C5DB2FE}" dt="2021-02-02T13:05:11.384" v="1735" actId="1076"/>
          <ac:spMkLst>
            <pc:docMk/>
            <pc:sldMk cId="3737910627" sldId="417"/>
            <ac:spMk id="2" creationId="{909DC09D-B9A6-4493-9A72-1CA7ECB1F5CA}"/>
          </ac:spMkLst>
        </pc:spChg>
        <pc:spChg chg="mod">
          <ac:chgData name="Thomas Stensitzki" userId="75cafe6b-2f2a-469b-85c4-eec3b9c972ba" providerId="ADAL" clId="{9F9E9FDF-7C61-4792-941E-3BBD6C5DB2FE}" dt="2021-02-02T13:06:11.123" v="1753" actId="20577"/>
          <ac:spMkLst>
            <pc:docMk/>
            <pc:sldMk cId="3737910627" sldId="417"/>
            <ac:spMk id="5" creationId="{C24DACB5-1BEC-4C86-9652-BAFD8DE56FEF}"/>
          </ac:spMkLst>
        </pc:spChg>
      </pc:sldChg>
      <pc:sldChg chg="modSp add mod ord">
        <pc:chgData name="Thomas Stensitzki" userId="75cafe6b-2f2a-469b-85c4-eec3b9c972ba" providerId="ADAL" clId="{9F9E9FDF-7C61-4792-941E-3BBD6C5DB2FE}" dt="2021-02-02T13:06:19.924" v="1754"/>
        <pc:sldMkLst>
          <pc:docMk/>
          <pc:sldMk cId="1540827525" sldId="418"/>
        </pc:sldMkLst>
        <pc:spChg chg="mod">
          <ac:chgData name="Thomas Stensitzki" userId="75cafe6b-2f2a-469b-85c4-eec3b9c972ba" providerId="ADAL" clId="{9F9E9FDF-7C61-4792-941E-3BBD6C5DB2FE}" dt="2021-02-02T13:05:33.942" v="1741" actId="1076"/>
          <ac:spMkLst>
            <pc:docMk/>
            <pc:sldMk cId="1540827525" sldId="418"/>
            <ac:spMk id="2" creationId="{909DC09D-B9A6-4493-9A72-1CA7ECB1F5CA}"/>
          </ac:spMkLst>
        </pc:spChg>
        <pc:spChg chg="mod">
          <ac:chgData name="Thomas Stensitzki" userId="75cafe6b-2f2a-469b-85c4-eec3b9c972ba" providerId="ADAL" clId="{9F9E9FDF-7C61-4792-941E-3BBD6C5DB2FE}" dt="2021-02-02T13:06:19.924" v="1754"/>
          <ac:spMkLst>
            <pc:docMk/>
            <pc:sldMk cId="1540827525" sldId="418"/>
            <ac:spMk id="5" creationId="{C24DACB5-1BEC-4C86-9652-BAFD8DE56FEF}"/>
          </ac:spMkLst>
        </pc:spChg>
      </pc:sldChg>
      <pc:sldChg chg="modSp add mod">
        <pc:chgData name="Thomas Stensitzki" userId="75cafe6b-2f2a-469b-85c4-eec3b9c972ba" providerId="ADAL" clId="{9F9E9FDF-7C61-4792-941E-3BBD6C5DB2FE}" dt="2021-02-02T13:14:12.513" v="1768" actId="14100"/>
        <pc:sldMkLst>
          <pc:docMk/>
          <pc:sldMk cId="2335610676" sldId="419"/>
        </pc:sldMkLst>
        <pc:spChg chg="mod">
          <ac:chgData name="Thomas Stensitzki" userId="75cafe6b-2f2a-469b-85c4-eec3b9c972ba" providerId="ADAL" clId="{9F9E9FDF-7C61-4792-941E-3BBD6C5DB2FE}" dt="2021-02-02T13:14:12.513" v="1768" actId="14100"/>
          <ac:spMkLst>
            <pc:docMk/>
            <pc:sldMk cId="2335610676" sldId="419"/>
            <ac:spMk id="2" creationId="{909DC09D-B9A6-4493-9A72-1CA7ECB1F5CA}"/>
          </ac:spMkLst>
        </pc:spChg>
      </pc:sldChg>
      <pc:sldChg chg="modSp add mod">
        <pc:chgData name="Thomas Stensitzki" userId="75cafe6b-2f2a-469b-85c4-eec3b9c972ba" providerId="ADAL" clId="{9F9E9FDF-7C61-4792-941E-3BBD6C5DB2FE}" dt="2021-02-02T13:14:25.084" v="1771" actId="14100"/>
        <pc:sldMkLst>
          <pc:docMk/>
          <pc:sldMk cId="1865896873" sldId="420"/>
        </pc:sldMkLst>
        <pc:spChg chg="mod">
          <ac:chgData name="Thomas Stensitzki" userId="75cafe6b-2f2a-469b-85c4-eec3b9c972ba" providerId="ADAL" clId="{9F9E9FDF-7C61-4792-941E-3BBD6C5DB2FE}" dt="2021-02-02T13:14:25.084" v="1771" actId="14100"/>
          <ac:spMkLst>
            <pc:docMk/>
            <pc:sldMk cId="1865896873" sldId="420"/>
            <ac:spMk id="2" creationId="{909DC09D-B9A6-4493-9A72-1CA7ECB1F5CA}"/>
          </ac:spMkLst>
        </pc:spChg>
      </pc:sldChg>
      <pc:sldChg chg="modSp add mod">
        <pc:chgData name="Thomas Stensitzki" userId="75cafe6b-2f2a-469b-85c4-eec3b9c972ba" providerId="ADAL" clId="{9F9E9FDF-7C61-4792-941E-3BBD6C5DB2FE}" dt="2021-02-02T13:15:02.889" v="1779" actId="1076"/>
        <pc:sldMkLst>
          <pc:docMk/>
          <pc:sldMk cId="1524395293" sldId="421"/>
        </pc:sldMkLst>
        <pc:spChg chg="mod">
          <ac:chgData name="Thomas Stensitzki" userId="75cafe6b-2f2a-469b-85c4-eec3b9c972ba" providerId="ADAL" clId="{9F9E9FDF-7C61-4792-941E-3BBD6C5DB2FE}" dt="2021-02-02T13:15:02.889" v="1779" actId="1076"/>
          <ac:spMkLst>
            <pc:docMk/>
            <pc:sldMk cId="1524395293" sldId="421"/>
            <ac:spMk id="2" creationId="{909DC09D-B9A6-4493-9A72-1CA7ECB1F5CA}"/>
          </ac:spMkLst>
        </pc:spChg>
      </pc:sldChg>
      <pc:sldChg chg="addSp delSp modSp add mod modAnim">
        <pc:chgData name="Thomas Stensitzki" userId="75cafe6b-2f2a-469b-85c4-eec3b9c972ba" providerId="ADAL" clId="{9F9E9FDF-7C61-4792-941E-3BBD6C5DB2FE}" dt="2021-02-02T13:18:15.918" v="1832"/>
        <pc:sldMkLst>
          <pc:docMk/>
          <pc:sldMk cId="1280545839" sldId="422"/>
        </pc:sldMkLst>
        <pc:spChg chg="add mod">
          <ac:chgData name="Thomas Stensitzki" userId="75cafe6b-2f2a-469b-85c4-eec3b9c972ba" providerId="ADAL" clId="{9F9E9FDF-7C61-4792-941E-3BBD6C5DB2FE}" dt="2021-02-02T13:17:28.456" v="1810" actId="14100"/>
          <ac:spMkLst>
            <pc:docMk/>
            <pc:sldMk cId="1280545839" sldId="422"/>
            <ac:spMk id="7" creationId="{C6191598-7775-4D95-899B-0E2D0541313F}"/>
          </ac:spMkLst>
        </pc:spChg>
        <pc:picChg chg="del">
          <ac:chgData name="Thomas Stensitzki" userId="75cafe6b-2f2a-469b-85c4-eec3b9c972ba" providerId="ADAL" clId="{9F9E9FDF-7C61-4792-941E-3BBD6C5DB2FE}" dt="2021-02-02T13:16:43.441" v="1800" actId="478"/>
          <ac:picMkLst>
            <pc:docMk/>
            <pc:sldMk cId="1280545839" sldId="422"/>
            <ac:picMk id="15362" creationId="{B90975DC-5162-4F41-B5F2-BBBE15E2112E}"/>
          </ac:picMkLst>
        </pc:picChg>
        <pc:picChg chg="del">
          <ac:chgData name="Thomas Stensitzki" userId="75cafe6b-2f2a-469b-85c4-eec3b9c972ba" providerId="ADAL" clId="{9F9E9FDF-7C61-4792-941E-3BBD6C5DB2FE}" dt="2021-02-02T13:16:44.071" v="1801" actId="478"/>
          <ac:picMkLst>
            <pc:docMk/>
            <pc:sldMk cId="1280545839" sldId="422"/>
            <ac:picMk id="16386" creationId="{F2A275E7-9123-49B8-915C-3A94852B1686}"/>
          </ac:picMkLst>
        </pc:picChg>
        <pc:picChg chg="mod">
          <ac:chgData name="Thomas Stensitzki" userId="75cafe6b-2f2a-469b-85c4-eec3b9c972ba" providerId="ADAL" clId="{9F9E9FDF-7C61-4792-941E-3BBD6C5DB2FE}" dt="2021-02-02T13:16:46.311" v="1802" actId="1076"/>
          <ac:picMkLst>
            <pc:docMk/>
            <pc:sldMk cId="1280545839" sldId="422"/>
            <ac:picMk id="17410" creationId="{EE942377-844A-497A-BCA1-1F49B9ADD376}"/>
          </ac:picMkLst>
        </pc:picChg>
        <pc:picChg chg="mod">
          <ac:chgData name="Thomas Stensitzki" userId="75cafe6b-2f2a-469b-85c4-eec3b9c972ba" providerId="ADAL" clId="{9F9E9FDF-7C61-4792-941E-3BBD6C5DB2FE}" dt="2021-02-02T13:16:50.835" v="1803" actId="1076"/>
          <ac:picMkLst>
            <pc:docMk/>
            <pc:sldMk cId="1280545839" sldId="422"/>
            <ac:picMk id="18434" creationId="{E18917D5-462E-425F-B1A7-02E0FDB5393A}"/>
          </ac:picMkLst>
        </pc:picChg>
      </pc:sldChg>
      <pc:sldChg chg="modSp add mod">
        <pc:chgData name="Thomas Stensitzki" userId="75cafe6b-2f2a-469b-85c4-eec3b9c972ba" providerId="ADAL" clId="{9F9E9FDF-7C61-4792-941E-3BBD6C5DB2FE}" dt="2021-02-02T13:18:59.786" v="1839" actId="1076"/>
        <pc:sldMkLst>
          <pc:docMk/>
          <pc:sldMk cId="3310606032" sldId="423"/>
        </pc:sldMkLst>
        <pc:spChg chg="mod">
          <ac:chgData name="Thomas Stensitzki" userId="75cafe6b-2f2a-469b-85c4-eec3b9c972ba" providerId="ADAL" clId="{9F9E9FDF-7C61-4792-941E-3BBD6C5DB2FE}" dt="2021-02-02T13:18:59.786" v="1839" actId="1076"/>
          <ac:spMkLst>
            <pc:docMk/>
            <pc:sldMk cId="3310606032" sldId="423"/>
            <ac:spMk id="2" creationId="{909DC09D-B9A6-4493-9A72-1CA7ECB1F5CA}"/>
          </ac:spMkLst>
        </pc:spChg>
      </pc:sldChg>
      <pc:sldChg chg="modSp add mod modNotesTx">
        <pc:chgData name="Thomas Stensitzki" userId="75cafe6b-2f2a-469b-85c4-eec3b9c972ba" providerId="ADAL" clId="{9F9E9FDF-7C61-4792-941E-3BBD6C5DB2FE}" dt="2021-02-02T13:19:27.066" v="1845" actId="14100"/>
        <pc:sldMkLst>
          <pc:docMk/>
          <pc:sldMk cId="2775711133" sldId="424"/>
        </pc:sldMkLst>
        <pc:spChg chg="mod">
          <ac:chgData name="Thomas Stensitzki" userId="75cafe6b-2f2a-469b-85c4-eec3b9c972ba" providerId="ADAL" clId="{9F9E9FDF-7C61-4792-941E-3BBD6C5DB2FE}" dt="2021-02-02T13:19:27.066" v="1845" actId="14100"/>
          <ac:spMkLst>
            <pc:docMk/>
            <pc:sldMk cId="2775711133" sldId="424"/>
            <ac:spMk id="2" creationId="{909DC09D-B9A6-4493-9A72-1CA7ECB1F5CA}"/>
          </ac:spMkLst>
        </pc:spChg>
      </pc:sldChg>
      <pc:sldChg chg="modSp add mod">
        <pc:chgData name="Thomas Stensitzki" userId="75cafe6b-2f2a-469b-85c4-eec3b9c972ba" providerId="ADAL" clId="{9F9E9FDF-7C61-4792-941E-3BBD6C5DB2FE}" dt="2021-02-02T13:19:41.191" v="1848" actId="14100"/>
        <pc:sldMkLst>
          <pc:docMk/>
          <pc:sldMk cId="1206553185" sldId="425"/>
        </pc:sldMkLst>
        <pc:spChg chg="mod">
          <ac:chgData name="Thomas Stensitzki" userId="75cafe6b-2f2a-469b-85c4-eec3b9c972ba" providerId="ADAL" clId="{9F9E9FDF-7C61-4792-941E-3BBD6C5DB2FE}" dt="2021-02-02T13:19:41.191" v="1848" actId="14100"/>
          <ac:spMkLst>
            <pc:docMk/>
            <pc:sldMk cId="1206553185" sldId="425"/>
            <ac:spMk id="2" creationId="{909DC09D-B9A6-4493-9A72-1CA7ECB1F5CA}"/>
          </ac:spMkLst>
        </pc:spChg>
      </pc:sldChg>
      <pc:sldMasterChg chg="modSp mod modSldLayout">
        <pc:chgData name="Thomas Stensitzki" userId="75cafe6b-2f2a-469b-85c4-eec3b9c972ba" providerId="ADAL" clId="{9F9E9FDF-7C61-4792-941E-3BBD6C5DB2FE}" dt="2021-02-01T13:29:14.397" v="45" actId="20577"/>
        <pc:sldMasterMkLst>
          <pc:docMk/>
          <pc:sldMasterMk cId="277911257" sldId="2147483648"/>
        </pc:sldMasterMkLst>
        <pc:spChg chg="mod">
          <ac:chgData name="Thomas Stensitzki" userId="75cafe6b-2f2a-469b-85c4-eec3b9c972ba" providerId="ADAL" clId="{9F9E9FDF-7C61-4792-941E-3BBD6C5DB2FE}" dt="2021-02-01T13:29:09.034" v="39" actId="20577"/>
          <ac:spMkLst>
            <pc:docMk/>
            <pc:sldMasterMk cId="277911257" sldId="2147483648"/>
            <ac:spMk id="9" creationId="{2406A12C-E783-4BE5-BEFC-AA493EA54917}"/>
          </ac:spMkLst>
        </pc:spChg>
        <pc:sldLayoutChg chg="modSp mod">
          <pc:chgData name="Thomas Stensitzki" userId="75cafe6b-2f2a-469b-85c4-eec3b9c972ba" providerId="ADAL" clId="{9F9E9FDF-7C61-4792-941E-3BBD6C5DB2FE}" dt="2021-02-01T13:29:14.397" v="45" actId="20577"/>
          <pc:sldLayoutMkLst>
            <pc:docMk/>
            <pc:sldMasterMk cId="277911257" sldId="2147483648"/>
            <pc:sldLayoutMk cId="3364905932" sldId="2147483649"/>
          </pc:sldLayoutMkLst>
          <pc:spChg chg="mod">
            <ac:chgData name="Thomas Stensitzki" userId="75cafe6b-2f2a-469b-85c4-eec3b9c972ba" providerId="ADAL" clId="{9F9E9FDF-7C61-4792-941E-3BBD6C5DB2FE}" dt="2021-02-01T13:29:14.397" v="45" actId="20577"/>
            <ac:spMkLst>
              <pc:docMk/>
              <pc:sldMasterMk cId="277911257" sldId="2147483648"/>
              <pc:sldLayoutMk cId="3364905932" sldId="2147483649"/>
              <ac:spMk id="4" creationId="{DC492C04-9595-4D88-A6FA-ABEAC2147667}"/>
            </ac:spMkLst>
          </pc:spChg>
        </pc:sldLayoutChg>
      </pc:sldMasterChg>
    </pc:docChg>
  </pc:docChgLst>
  <pc:docChgLst>
    <pc:chgData name="Thomas Stensitzki" userId="S::thomas.stensitzki@granikos.eu::75cafe6b-2f2a-469b-85c4-eec3b9c972ba" providerId="AD" clId="Web-{4149DE1F-7438-D6D1-324A-7810524F4E46}"/>
    <pc:docChg chg="addSld modSld modSection">
      <pc:chgData name="Thomas Stensitzki" userId="S::thomas.stensitzki@granikos.eu::75cafe6b-2f2a-469b-85c4-eec3b9c972ba" providerId="AD" clId="Web-{4149DE1F-7438-D6D1-324A-7810524F4E46}" dt="2023-05-23T09:13:18.776" v="15"/>
      <pc:docMkLst>
        <pc:docMk/>
      </pc:docMkLst>
      <pc:sldChg chg="addSp delSp modSp modNotes">
        <pc:chgData name="Thomas Stensitzki" userId="S::thomas.stensitzki@granikos.eu::75cafe6b-2f2a-469b-85c4-eec3b9c972ba" providerId="AD" clId="Web-{4149DE1F-7438-D6D1-324A-7810524F4E46}" dt="2023-05-23T09:13:18.776" v="15"/>
        <pc:sldMkLst>
          <pc:docMk/>
          <pc:sldMk cId="2929133666" sldId="666"/>
        </pc:sldMkLst>
        <pc:spChg chg="add del mod">
          <ac:chgData name="Thomas Stensitzki" userId="S::thomas.stensitzki@granikos.eu::75cafe6b-2f2a-469b-85c4-eec3b9c972ba" providerId="AD" clId="Web-{4149DE1F-7438-D6D1-324A-7810524F4E46}" dt="2023-05-23T09:12:45.056" v="14"/>
          <ac:spMkLst>
            <pc:docMk/>
            <pc:sldMk cId="2929133666" sldId="666"/>
            <ac:spMk id="3" creationId="{2A6ECF10-85D0-50A9-A3B7-6198E269E315}"/>
          </ac:spMkLst>
        </pc:spChg>
        <pc:spChg chg="mod">
          <ac:chgData name="Thomas Stensitzki" userId="S::thomas.stensitzki@granikos.eu::75cafe6b-2f2a-469b-85c4-eec3b9c972ba" providerId="AD" clId="Web-{4149DE1F-7438-D6D1-324A-7810524F4E46}" dt="2023-05-23T09:12:37.728" v="10" actId="20577"/>
          <ac:spMkLst>
            <pc:docMk/>
            <pc:sldMk cId="2929133666" sldId="666"/>
            <ac:spMk id="4" creationId="{9D4128E2-FBA7-900F-7B66-CEEBB9C7063C}"/>
          </ac:spMkLst>
        </pc:spChg>
        <pc:spChg chg="del mod">
          <ac:chgData name="Thomas Stensitzki" userId="S::thomas.stensitzki@granikos.eu::75cafe6b-2f2a-469b-85c4-eec3b9c972ba" providerId="AD" clId="Web-{4149DE1F-7438-D6D1-324A-7810524F4E46}" dt="2023-05-23T09:12:43.541" v="13"/>
          <ac:spMkLst>
            <pc:docMk/>
            <pc:sldMk cId="2929133666" sldId="666"/>
            <ac:spMk id="5" creationId="{0C5A623D-94AE-2D59-FFE6-1DB4A44070C0}"/>
          </ac:spMkLst>
        </pc:spChg>
        <pc:picChg chg="add mod ord">
          <ac:chgData name="Thomas Stensitzki" userId="S::thomas.stensitzki@granikos.eu::75cafe6b-2f2a-469b-85c4-eec3b9c972ba" providerId="AD" clId="Web-{4149DE1F-7438-D6D1-324A-7810524F4E46}" dt="2023-05-23T09:12:45.056" v="14"/>
          <ac:picMkLst>
            <pc:docMk/>
            <pc:sldMk cId="2929133666" sldId="666"/>
            <ac:picMk id="6" creationId="{C8D4B2FE-EDD8-50E5-8B16-7E008C16F86F}"/>
          </ac:picMkLst>
        </pc:picChg>
      </pc:sldChg>
      <pc:sldChg chg="add replId">
        <pc:chgData name="Thomas Stensitzki" userId="S::thomas.stensitzki@granikos.eu::75cafe6b-2f2a-469b-85c4-eec3b9c972ba" providerId="AD" clId="Web-{4149DE1F-7438-D6D1-324A-7810524F4E46}" dt="2023-05-23T09:12:31.400" v="0"/>
        <pc:sldMkLst>
          <pc:docMk/>
          <pc:sldMk cId="1727373922" sldId="727"/>
        </pc:sldMkLst>
      </pc:sldChg>
    </pc:docChg>
  </pc:docChgLst>
  <pc:docChgLst>
    <pc:chgData name="Thomas Stensitzki" userId="75cafe6b-2f2a-469b-85c4-eec3b9c972ba" providerId="ADAL" clId="{732483C3-CB0C-4598-9DB1-778FE3877DE7}"/>
    <pc:docChg chg="undo custSel addSld delSld modSld sldOrd addSection modSection">
      <pc:chgData name="Thomas Stensitzki" userId="75cafe6b-2f2a-469b-85c4-eec3b9c972ba" providerId="ADAL" clId="{732483C3-CB0C-4598-9DB1-778FE3877DE7}" dt="2022-02-17T15:59:12.602" v="1969" actId="1076"/>
      <pc:docMkLst>
        <pc:docMk/>
      </pc:docMkLst>
      <pc:sldChg chg="modSp mod modTransition">
        <pc:chgData name="Thomas Stensitzki" userId="75cafe6b-2f2a-469b-85c4-eec3b9c972ba" providerId="ADAL" clId="{732483C3-CB0C-4598-9DB1-778FE3877DE7}" dt="2022-02-16T13:35:41.009" v="1677"/>
        <pc:sldMkLst>
          <pc:docMk/>
          <pc:sldMk cId="671489701" sldId="256"/>
        </pc:sldMkLst>
        <pc:spChg chg="mod">
          <ac:chgData name="Thomas Stensitzki" userId="75cafe6b-2f2a-469b-85c4-eec3b9c972ba" providerId="ADAL" clId="{732483C3-CB0C-4598-9DB1-778FE3877DE7}" dt="2022-02-13T12:22:51.290" v="50" actId="113"/>
          <ac:spMkLst>
            <pc:docMk/>
            <pc:sldMk cId="671489701" sldId="256"/>
            <ac:spMk id="2" creationId="{86A4A9C3-88F1-47B1-832C-DF14CF7A00CF}"/>
          </ac:spMkLst>
        </pc:spChg>
        <pc:spChg chg="mod">
          <ac:chgData name="Thomas Stensitzki" userId="75cafe6b-2f2a-469b-85c4-eec3b9c972ba" providerId="ADAL" clId="{732483C3-CB0C-4598-9DB1-778FE3877DE7}" dt="2022-02-13T12:23:22.759" v="51" actId="113"/>
          <ac:spMkLst>
            <pc:docMk/>
            <pc:sldMk cId="671489701" sldId="256"/>
            <ac:spMk id="3" creationId="{CBA95633-B02D-4A15-A8B1-A38E0A70FD27}"/>
          </ac:spMkLst>
        </pc:spChg>
      </pc:sldChg>
      <pc:sldChg chg="addSp delSp modSp mod modTransition">
        <pc:chgData name="Thomas Stensitzki" userId="75cafe6b-2f2a-469b-85c4-eec3b9c972ba" providerId="ADAL" clId="{732483C3-CB0C-4598-9DB1-778FE3877DE7}" dt="2022-02-17T15:59:12.602" v="1969" actId="1076"/>
        <pc:sldMkLst>
          <pc:docMk/>
          <pc:sldMk cId="2855324227" sldId="257"/>
        </pc:sldMkLst>
        <pc:spChg chg="mod">
          <ac:chgData name="Thomas Stensitzki" userId="75cafe6b-2f2a-469b-85c4-eec3b9c972ba" providerId="ADAL" clId="{732483C3-CB0C-4598-9DB1-778FE3877DE7}" dt="2022-02-16T13:31:32.696" v="1597"/>
          <ac:spMkLst>
            <pc:docMk/>
            <pc:sldMk cId="2855324227" sldId="257"/>
            <ac:spMk id="11" creationId="{5F7E2A8E-3488-43CE-AFB7-0DE0FE9942EC}"/>
          </ac:spMkLst>
        </pc:spChg>
        <pc:spChg chg="mod">
          <ac:chgData name="Thomas Stensitzki" userId="75cafe6b-2f2a-469b-85c4-eec3b9c972ba" providerId="ADAL" clId="{732483C3-CB0C-4598-9DB1-778FE3877DE7}" dt="2022-02-17T15:59:01.053" v="1967"/>
          <ac:spMkLst>
            <pc:docMk/>
            <pc:sldMk cId="2855324227" sldId="257"/>
            <ac:spMk id="11" creationId="{E79462DF-B80C-4577-A7E2-5A5070DE1A39}"/>
          </ac:spMkLst>
        </pc:spChg>
        <pc:spChg chg="mod">
          <ac:chgData name="Thomas Stensitzki" userId="75cafe6b-2f2a-469b-85c4-eec3b9c972ba" providerId="ADAL" clId="{732483C3-CB0C-4598-9DB1-778FE3877DE7}" dt="2022-02-17T15:59:01.053" v="1967"/>
          <ac:spMkLst>
            <pc:docMk/>
            <pc:sldMk cId="2855324227" sldId="257"/>
            <ac:spMk id="12" creationId="{2CBD1460-E995-4D48-A0A3-9B7E8FFC6E73}"/>
          </ac:spMkLst>
        </pc:spChg>
        <pc:spChg chg="mod">
          <ac:chgData name="Thomas Stensitzki" userId="75cafe6b-2f2a-469b-85c4-eec3b9c972ba" providerId="ADAL" clId="{732483C3-CB0C-4598-9DB1-778FE3877DE7}" dt="2022-02-16T13:31:32.696" v="1597"/>
          <ac:spMkLst>
            <pc:docMk/>
            <pc:sldMk cId="2855324227" sldId="257"/>
            <ac:spMk id="12" creationId="{B66D9E92-293C-402F-A9E1-9822A1F2DDE3}"/>
          </ac:spMkLst>
        </pc:spChg>
        <pc:grpChg chg="add del mod">
          <ac:chgData name="Thomas Stensitzki" userId="75cafe6b-2f2a-469b-85c4-eec3b9c972ba" providerId="ADAL" clId="{732483C3-CB0C-4598-9DB1-778FE3877DE7}" dt="2022-02-16T13:32:31.835" v="1606" actId="478"/>
          <ac:grpSpMkLst>
            <pc:docMk/>
            <pc:sldMk cId="2855324227" sldId="257"/>
            <ac:grpSpMk id="10" creationId="{16102D12-CA97-459F-9875-C86808FBFBEB}"/>
          </ac:grpSpMkLst>
        </pc:grpChg>
        <pc:grpChg chg="add mod">
          <ac:chgData name="Thomas Stensitzki" userId="75cafe6b-2f2a-469b-85c4-eec3b9c972ba" providerId="ADAL" clId="{732483C3-CB0C-4598-9DB1-778FE3877DE7}" dt="2022-02-17T15:59:12.602" v="1969" actId="1076"/>
          <ac:grpSpMkLst>
            <pc:docMk/>
            <pc:sldMk cId="2855324227" sldId="257"/>
            <ac:grpSpMk id="10" creationId="{D2AA4FDE-6B43-48F3-A5F5-5B79619A7E68}"/>
          </ac:grpSpMkLst>
        </pc:grpChg>
        <pc:graphicFrameChg chg="mod modGraphic">
          <ac:chgData name="Thomas Stensitzki" userId="75cafe6b-2f2a-469b-85c4-eec3b9c972ba" providerId="ADAL" clId="{732483C3-CB0C-4598-9DB1-778FE3877DE7}" dt="2022-02-13T12:25:25.350" v="63"/>
          <ac:graphicFrameMkLst>
            <pc:docMk/>
            <pc:sldMk cId="2855324227" sldId="257"/>
            <ac:graphicFrameMk id="6" creationId="{0F955DCC-462D-431D-BBDE-26F10687D590}"/>
          </ac:graphicFrameMkLst>
        </pc:graphicFrameChg>
        <pc:picChg chg="add del mod">
          <ac:chgData name="Thomas Stensitzki" userId="75cafe6b-2f2a-469b-85c4-eec3b9c972ba" providerId="ADAL" clId="{732483C3-CB0C-4598-9DB1-778FE3877DE7}" dt="2022-02-16T13:32:33.009" v="1607" actId="478"/>
          <ac:picMkLst>
            <pc:docMk/>
            <pc:sldMk cId="2855324227" sldId="257"/>
            <ac:picMk id="4" creationId="{69EB1147-1A9E-4968-9B6D-4419C751595B}"/>
          </ac:picMkLst>
        </pc:picChg>
        <pc:picChg chg="add del mod">
          <ac:chgData name="Thomas Stensitzki" userId="75cafe6b-2f2a-469b-85c4-eec3b9c972ba" providerId="ADAL" clId="{732483C3-CB0C-4598-9DB1-778FE3877DE7}" dt="2022-02-16T13:32:01.981" v="1601" actId="478"/>
          <ac:picMkLst>
            <pc:docMk/>
            <pc:sldMk cId="2855324227" sldId="257"/>
            <ac:picMk id="14" creationId="{6E278E7A-A6E6-47E7-9D1F-FF803ED76CF6}"/>
          </ac:picMkLst>
        </pc:picChg>
      </pc:sldChg>
      <pc:sldChg chg="modSp mod modTransition">
        <pc:chgData name="Thomas Stensitzki" userId="75cafe6b-2f2a-469b-85c4-eec3b9c972ba" providerId="ADAL" clId="{732483C3-CB0C-4598-9DB1-778FE3877DE7}" dt="2022-02-16T13:35:41.009" v="1677"/>
        <pc:sldMkLst>
          <pc:docMk/>
          <pc:sldMk cId="3332792154" sldId="258"/>
        </pc:sldMkLst>
        <pc:spChg chg="mod">
          <ac:chgData name="Thomas Stensitzki" userId="75cafe6b-2f2a-469b-85c4-eec3b9c972ba" providerId="ADAL" clId="{732483C3-CB0C-4598-9DB1-778FE3877DE7}" dt="2022-02-13T12:41:53.547" v="314" actId="6549"/>
          <ac:spMkLst>
            <pc:docMk/>
            <pc:sldMk cId="3332792154" sldId="258"/>
            <ac:spMk id="3" creationId="{3A5A44EB-7FB9-473A-8ED3-C49DDD2E65AB}"/>
          </ac:spMkLst>
        </pc:spChg>
      </pc:sldChg>
      <pc:sldChg chg="modTransition">
        <pc:chgData name="Thomas Stensitzki" userId="75cafe6b-2f2a-469b-85c4-eec3b9c972ba" providerId="ADAL" clId="{732483C3-CB0C-4598-9DB1-778FE3877DE7}" dt="2022-02-16T13:35:41.009" v="1677"/>
        <pc:sldMkLst>
          <pc:docMk/>
          <pc:sldMk cId="1545829058" sldId="259"/>
        </pc:sldMkLst>
      </pc:sldChg>
      <pc:sldChg chg="modSp mod modTransition">
        <pc:chgData name="Thomas Stensitzki" userId="75cafe6b-2f2a-469b-85c4-eec3b9c972ba" providerId="ADAL" clId="{732483C3-CB0C-4598-9DB1-778FE3877DE7}" dt="2022-02-16T13:35:41.009" v="1677"/>
        <pc:sldMkLst>
          <pc:docMk/>
          <pc:sldMk cId="2698998357" sldId="260"/>
        </pc:sldMkLst>
        <pc:spChg chg="mod">
          <ac:chgData name="Thomas Stensitzki" userId="75cafe6b-2f2a-469b-85c4-eec3b9c972ba" providerId="ADAL" clId="{732483C3-CB0C-4598-9DB1-778FE3877DE7}" dt="2022-02-13T12:27:18.416" v="64"/>
          <ac:spMkLst>
            <pc:docMk/>
            <pc:sldMk cId="2698998357" sldId="260"/>
            <ac:spMk id="4" creationId="{F3A15CBD-C746-44A3-A4F0-4898CE2F02E6}"/>
          </ac:spMkLst>
        </pc:spChg>
        <pc:spChg chg="mod">
          <ac:chgData name="Thomas Stensitzki" userId="75cafe6b-2f2a-469b-85c4-eec3b9c972ba" providerId="ADAL" clId="{732483C3-CB0C-4598-9DB1-778FE3877DE7}" dt="2022-02-13T12:28:37.463" v="70" actId="114"/>
          <ac:spMkLst>
            <pc:docMk/>
            <pc:sldMk cId="2698998357" sldId="260"/>
            <ac:spMk id="5" creationId="{F3459BE7-1731-4733-A912-12977C68CFD6}"/>
          </ac:spMkLst>
        </pc:spChg>
      </pc:sldChg>
      <pc:sldChg chg="modSp mod modTransition">
        <pc:chgData name="Thomas Stensitzki" userId="75cafe6b-2f2a-469b-85c4-eec3b9c972ba" providerId="ADAL" clId="{732483C3-CB0C-4598-9DB1-778FE3877DE7}" dt="2022-02-16T13:35:41.009" v="1677"/>
        <pc:sldMkLst>
          <pc:docMk/>
          <pc:sldMk cId="4007670073" sldId="268"/>
        </pc:sldMkLst>
        <pc:spChg chg="mod">
          <ac:chgData name="Thomas Stensitzki" userId="75cafe6b-2f2a-469b-85c4-eec3b9c972ba" providerId="ADAL" clId="{732483C3-CB0C-4598-9DB1-778FE3877DE7}" dt="2022-02-13T12:28:46.343" v="72" actId="20577"/>
          <ac:spMkLst>
            <pc:docMk/>
            <pc:sldMk cId="4007670073" sldId="268"/>
            <ac:spMk id="5" creationId="{F3459BE7-1731-4733-A912-12977C68CFD6}"/>
          </ac:spMkLst>
        </pc:spChg>
      </pc:sldChg>
      <pc:sldChg chg="modSp add del mod modTransition">
        <pc:chgData name="Thomas Stensitzki" userId="75cafe6b-2f2a-469b-85c4-eec3b9c972ba" providerId="ADAL" clId="{732483C3-CB0C-4598-9DB1-778FE3877DE7}" dt="2022-02-16T13:35:41.009" v="1677"/>
        <pc:sldMkLst>
          <pc:docMk/>
          <pc:sldMk cId="2721051844" sldId="269"/>
        </pc:sldMkLst>
        <pc:spChg chg="mod">
          <ac:chgData name="Thomas Stensitzki" userId="75cafe6b-2f2a-469b-85c4-eec3b9c972ba" providerId="ADAL" clId="{732483C3-CB0C-4598-9DB1-778FE3877DE7}" dt="2022-02-13T12:36:47.285" v="163" actId="20577"/>
          <ac:spMkLst>
            <pc:docMk/>
            <pc:sldMk cId="2721051844" sldId="269"/>
            <ac:spMk id="5" creationId="{C24DACB5-1BEC-4C86-9652-BAFD8DE56FEF}"/>
          </ac:spMkLst>
        </pc:spChg>
      </pc:sldChg>
      <pc:sldChg chg="modTransition">
        <pc:chgData name="Thomas Stensitzki" userId="75cafe6b-2f2a-469b-85c4-eec3b9c972ba" providerId="ADAL" clId="{732483C3-CB0C-4598-9DB1-778FE3877DE7}" dt="2022-02-16T13:35:41.009" v="1677"/>
        <pc:sldMkLst>
          <pc:docMk/>
          <pc:sldMk cId="1928334901" sldId="295"/>
        </pc:sldMkLst>
      </pc:sldChg>
      <pc:sldChg chg="modTransition">
        <pc:chgData name="Thomas Stensitzki" userId="75cafe6b-2f2a-469b-85c4-eec3b9c972ba" providerId="ADAL" clId="{732483C3-CB0C-4598-9DB1-778FE3877DE7}" dt="2022-02-16T13:35:41.009" v="1677"/>
        <pc:sldMkLst>
          <pc:docMk/>
          <pc:sldMk cId="466045460" sldId="296"/>
        </pc:sldMkLst>
      </pc:sldChg>
      <pc:sldChg chg="modSp mod modTransition modShow">
        <pc:chgData name="Thomas Stensitzki" userId="75cafe6b-2f2a-469b-85c4-eec3b9c972ba" providerId="ADAL" clId="{732483C3-CB0C-4598-9DB1-778FE3877DE7}" dt="2022-02-16T13:54:43.015" v="1912" actId="729"/>
        <pc:sldMkLst>
          <pc:docMk/>
          <pc:sldMk cId="53967156" sldId="297"/>
        </pc:sldMkLst>
        <pc:spChg chg="mod">
          <ac:chgData name="Thomas Stensitzki" userId="75cafe6b-2f2a-469b-85c4-eec3b9c972ba" providerId="ADAL" clId="{732483C3-CB0C-4598-9DB1-778FE3877DE7}" dt="2022-02-13T12:38:16.414" v="168" actId="20577"/>
          <ac:spMkLst>
            <pc:docMk/>
            <pc:sldMk cId="53967156" sldId="297"/>
            <ac:spMk id="4" creationId="{F3A15CBD-C746-44A3-A4F0-4898CE2F02E6}"/>
          </ac:spMkLst>
        </pc:spChg>
        <pc:spChg chg="mod">
          <ac:chgData name="Thomas Stensitzki" userId="75cafe6b-2f2a-469b-85c4-eec3b9c972ba" providerId="ADAL" clId="{732483C3-CB0C-4598-9DB1-778FE3877DE7}" dt="2022-02-13T12:38:33.111" v="198" actId="20577"/>
          <ac:spMkLst>
            <pc:docMk/>
            <pc:sldMk cId="53967156" sldId="297"/>
            <ac:spMk id="5" creationId="{F3459BE7-1731-4733-A912-12977C68CFD6}"/>
          </ac:spMkLst>
        </pc:spChg>
      </pc:sldChg>
      <pc:sldChg chg="modTransition">
        <pc:chgData name="Thomas Stensitzki" userId="75cafe6b-2f2a-469b-85c4-eec3b9c972ba" providerId="ADAL" clId="{732483C3-CB0C-4598-9DB1-778FE3877DE7}" dt="2022-02-16T13:35:41.009" v="1677"/>
        <pc:sldMkLst>
          <pc:docMk/>
          <pc:sldMk cId="2814967912" sldId="311"/>
        </pc:sldMkLst>
      </pc:sldChg>
      <pc:sldChg chg="modTransition">
        <pc:chgData name="Thomas Stensitzki" userId="75cafe6b-2f2a-469b-85c4-eec3b9c972ba" providerId="ADAL" clId="{732483C3-CB0C-4598-9DB1-778FE3877DE7}" dt="2022-02-16T13:35:41.009" v="1677"/>
        <pc:sldMkLst>
          <pc:docMk/>
          <pc:sldMk cId="726195275" sldId="313"/>
        </pc:sldMkLst>
      </pc:sldChg>
      <pc:sldChg chg="modSp mod modTransition">
        <pc:chgData name="Thomas Stensitzki" userId="75cafe6b-2f2a-469b-85c4-eec3b9c972ba" providerId="ADAL" clId="{732483C3-CB0C-4598-9DB1-778FE3877DE7}" dt="2022-02-16T13:35:41.009" v="1677"/>
        <pc:sldMkLst>
          <pc:docMk/>
          <pc:sldMk cId="2227487991" sldId="378"/>
        </pc:sldMkLst>
        <pc:spChg chg="mod">
          <ac:chgData name="Thomas Stensitzki" userId="75cafe6b-2f2a-469b-85c4-eec3b9c972ba" providerId="ADAL" clId="{732483C3-CB0C-4598-9DB1-778FE3877DE7}" dt="2022-02-14T11:33:44.170" v="1247" actId="1076"/>
          <ac:spMkLst>
            <pc:docMk/>
            <pc:sldMk cId="2227487991" sldId="378"/>
            <ac:spMk id="2" creationId="{909DC09D-B9A6-4493-9A72-1CA7ECB1F5CA}"/>
          </ac:spMkLst>
        </pc:spChg>
        <pc:spChg chg="mod">
          <ac:chgData name="Thomas Stensitzki" userId="75cafe6b-2f2a-469b-85c4-eec3b9c972ba" providerId="ADAL" clId="{732483C3-CB0C-4598-9DB1-778FE3877DE7}" dt="2022-02-14T11:32:58.007" v="1240" actId="255"/>
          <ac:spMkLst>
            <pc:docMk/>
            <pc:sldMk cId="2227487991" sldId="378"/>
            <ac:spMk id="5" creationId="{C24DACB5-1BEC-4C86-9652-BAFD8DE56FEF}"/>
          </ac:spMkLst>
        </pc:spChg>
      </pc:sldChg>
      <pc:sldChg chg="modTransition">
        <pc:chgData name="Thomas Stensitzki" userId="75cafe6b-2f2a-469b-85c4-eec3b9c972ba" providerId="ADAL" clId="{732483C3-CB0C-4598-9DB1-778FE3877DE7}" dt="2022-02-16T13:35:41.009" v="1677"/>
        <pc:sldMkLst>
          <pc:docMk/>
          <pc:sldMk cId="2923837414" sldId="513"/>
        </pc:sldMkLst>
      </pc:sldChg>
      <pc:sldChg chg="modTransition">
        <pc:chgData name="Thomas Stensitzki" userId="75cafe6b-2f2a-469b-85c4-eec3b9c972ba" providerId="ADAL" clId="{732483C3-CB0C-4598-9DB1-778FE3877DE7}" dt="2022-02-16T13:35:41.009" v="1677"/>
        <pc:sldMkLst>
          <pc:docMk/>
          <pc:sldMk cId="2395924320" sldId="514"/>
        </pc:sldMkLst>
      </pc:sldChg>
      <pc:sldChg chg="modSp mod modTransition modNotesTx">
        <pc:chgData name="Thomas Stensitzki" userId="75cafe6b-2f2a-469b-85c4-eec3b9c972ba" providerId="ADAL" clId="{732483C3-CB0C-4598-9DB1-778FE3877DE7}" dt="2022-02-16T13:52:51.083" v="1895" actId="6549"/>
        <pc:sldMkLst>
          <pc:docMk/>
          <pc:sldMk cId="3797754622" sldId="515"/>
        </pc:sldMkLst>
        <pc:spChg chg="mod">
          <ac:chgData name="Thomas Stensitzki" userId="75cafe6b-2f2a-469b-85c4-eec3b9c972ba" providerId="ADAL" clId="{732483C3-CB0C-4598-9DB1-778FE3877DE7}" dt="2022-02-16T13:47:59.697" v="1848" actId="1076"/>
          <ac:spMkLst>
            <pc:docMk/>
            <pc:sldMk cId="3797754622" sldId="515"/>
            <ac:spMk id="2" creationId="{909DC09D-B9A6-4493-9A72-1CA7ECB1F5CA}"/>
          </ac:spMkLst>
        </pc:spChg>
        <pc:spChg chg="mod">
          <ac:chgData name="Thomas Stensitzki" userId="75cafe6b-2f2a-469b-85c4-eec3b9c972ba" providerId="ADAL" clId="{732483C3-CB0C-4598-9DB1-778FE3877DE7}" dt="2022-02-14T11:33:21.124" v="1244" actId="255"/>
          <ac:spMkLst>
            <pc:docMk/>
            <pc:sldMk cId="3797754622" sldId="515"/>
            <ac:spMk id="5" creationId="{C24DACB5-1BEC-4C86-9652-BAFD8DE56FEF}"/>
          </ac:spMkLst>
        </pc:spChg>
      </pc:sldChg>
      <pc:sldChg chg="modTransition">
        <pc:chgData name="Thomas Stensitzki" userId="75cafe6b-2f2a-469b-85c4-eec3b9c972ba" providerId="ADAL" clId="{732483C3-CB0C-4598-9DB1-778FE3877DE7}" dt="2022-02-16T13:35:41.009" v="1677"/>
        <pc:sldMkLst>
          <pc:docMk/>
          <pc:sldMk cId="2791634409" sldId="560"/>
        </pc:sldMkLst>
      </pc:sldChg>
      <pc:sldChg chg="modSp mod modTransition">
        <pc:chgData name="Thomas Stensitzki" userId="75cafe6b-2f2a-469b-85c4-eec3b9c972ba" providerId="ADAL" clId="{732483C3-CB0C-4598-9DB1-778FE3877DE7}" dt="2022-02-16T13:58:52.710" v="1966" actId="20577"/>
        <pc:sldMkLst>
          <pc:docMk/>
          <pc:sldMk cId="1728515471" sldId="561"/>
        </pc:sldMkLst>
        <pc:graphicFrameChg chg="mod modGraphic">
          <ac:chgData name="Thomas Stensitzki" userId="75cafe6b-2f2a-469b-85c4-eec3b9c972ba" providerId="ADAL" clId="{732483C3-CB0C-4598-9DB1-778FE3877DE7}" dt="2022-02-16T13:58:52.710" v="1966" actId="20577"/>
          <ac:graphicFrameMkLst>
            <pc:docMk/>
            <pc:sldMk cId="1728515471" sldId="561"/>
            <ac:graphicFrameMk id="4" creationId="{55EDB790-67BC-42E5-B64A-5647620B8383}"/>
          </ac:graphicFrameMkLst>
        </pc:graphicFrameChg>
      </pc:sldChg>
      <pc:sldChg chg="del">
        <pc:chgData name="Thomas Stensitzki" userId="75cafe6b-2f2a-469b-85c4-eec3b9c972ba" providerId="ADAL" clId="{732483C3-CB0C-4598-9DB1-778FE3877DE7}" dt="2022-02-13T12:29:09.990" v="73" actId="47"/>
        <pc:sldMkLst>
          <pc:docMk/>
          <pc:sldMk cId="897532384" sldId="562"/>
        </pc:sldMkLst>
      </pc:sldChg>
      <pc:sldChg chg="del">
        <pc:chgData name="Thomas Stensitzki" userId="75cafe6b-2f2a-469b-85c4-eec3b9c972ba" providerId="ADAL" clId="{732483C3-CB0C-4598-9DB1-778FE3877DE7}" dt="2022-02-13T12:29:09.990" v="73" actId="47"/>
        <pc:sldMkLst>
          <pc:docMk/>
          <pc:sldMk cId="2102933315" sldId="563"/>
        </pc:sldMkLst>
      </pc:sldChg>
      <pc:sldChg chg="del">
        <pc:chgData name="Thomas Stensitzki" userId="75cafe6b-2f2a-469b-85c4-eec3b9c972ba" providerId="ADAL" clId="{732483C3-CB0C-4598-9DB1-778FE3877DE7}" dt="2022-02-13T12:29:09.990" v="73" actId="47"/>
        <pc:sldMkLst>
          <pc:docMk/>
          <pc:sldMk cId="2675026296" sldId="564"/>
        </pc:sldMkLst>
      </pc:sldChg>
      <pc:sldChg chg="del">
        <pc:chgData name="Thomas Stensitzki" userId="75cafe6b-2f2a-469b-85c4-eec3b9c972ba" providerId="ADAL" clId="{732483C3-CB0C-4598-9DB1-778FE3877DE7}" dt="2022-02-13T12:29:09.990" v="73" actId="47"/>
        <pc:sldMkLst>
          <pc:docMk/>
          <pc:sldMk cId="3751554083" sldId="565"/>
        </pc:sldMkLst>
      </pc:sldChg>
      <pc:sldChg chg="del">
        <pc:chgData name="Thomas Stensitzki" userId="75cafe6b-2f2a-469b-85c4-eec3b9c972ba" providerId="ADAL" clId="{732483C3-CB0C-4598-9DB1-778FE3877DE7}" dt="2022-02-13T12:29:09.990" v="73" actId="47"/>
        <pc:sldMkLst>
          <pc:docMk/>
          <pc:sldMk cId="3413303963" sldId="566"/>
        </pc:sldMkLst>
      </pc:sldChg>
      <pc:sldChg chg="modSp mod ord modTransition modNotesTx">
        <pc:chgData name="Thomas Stensitzki" userId="75cafe6b-2f2a-469b-85c4-eec3b9c972ba" providerId="ADAL" clId="{732483C3-CB0C-4598-9DB1-778FE3877DE7}" dt="2022-02-16T13:48:53.982" v="1853"/>
        <pc:sldMkLst>
          <pc:docMk/>
          <pc:sldMk cId="4104137776" sldId="567"/>
        </pc:sldMkLst>
        <pc:spChg chg="mod">
          <ac:chgData name="Thomas Stensitzki" userId="75cafe6b-2f2a-469b-85c4-eec3b9c972ba" providerId="ADAL" clId="{732483C3-CB0C-4598-9DB1-778FE3877DE7}" dt="2022-02-13T12:50:50.841" v="328" actId="20577"/>
          <ac:spMkLst>
            <pc:docMk/>
            <pc:sldMk cId="4104137776" sldId="567"/>
            <ac:spMk id="2" creationId="{EC46AD28-746E-4246-884F-4DAE24C62042}"/>
          </ac:spMkLst>
        </pc:spChg>
        <pc:spChg chg="mod">
          <ac:chgData name="Thomas Stensitzki" userId="75cafe6b-2f2a-469b-85c4-eec3b9c972ba" providerId="ADAL" clId="{732483C3-CB0C-4598-9DB1-778FE3877DE7}" dt="2022-02-13T12:51:14.659" v="333" actId="15"/>
          <ac:spMkLst>
            <pc:docMk/>
            <pc:sldMk cId="4104137776" sldId="567"/>
            <ac:spMk id="3" creationId="{4B4B1B02-433C-4551-A25C-9193BE90D3D9}"/>
          </ac:spMkLst>
        </pc:spChg>
      </pc:sldChg>
      <pc:sldChg chg="modSp new mod modTransition">
        <pc:chgData name="Thomas Stensitzki" userId="75cafe6b-2f2a-469b-85c4-eec3b9c972ba" providerId="ADAL" clId="{732483C3-CB0C-4598-9DB1-778FE3877DE7}" dt="2022-02-16T13:35:41.009" v="1677"/>
        <pc:sldMkLst>
          <pc:docMk/>
          <pc:sldMk cId="2374589673" sldId="568"/>
        </pc:sldMkLst>
        <pc:spChg chg="mod">
          <ac:chgData name="Thomas Stensitzki" userId="75cafe6b-2f2a-469b-85c4-eec3b9c972ba" providerId="ADAL" clId="{732483C3-CB0C-4598-9DB1-778FE3877DE7}" dt="2022-02-13T12:49:26.398" v="319"/>
          <ac:spMkLst>
            <pc:docMk/>
            <pc:sldMk cId="2374589673" sldId="568"/>
            <ac:spMk id="2" creationId="{6A814F1C-A68B-4C48-BFC7-E0C8475DD978}"/>
          </ac:spMkLst>
        </pc:spChg>
        <pc:spChg chg="mod">
          <ac:chgData name="Thomas Stensitzki" userId="75cafe6b-2f2a-469b-85c4-eec3b9c972ba" providerId="ADAL" clId="{732483C3-CB0C-4598-9DB1-778FE3877DE7}" dt="2022-02-16T13:35:25.184" v="1676" actId="20577"/>
          <ac:spMkLst>
            <pc:docMk/>
            <pc:sldMk cId="2374589673" sldId="568"/>
            <ac:spMk id="3" creationId="{4FF3BEF0-B65A-4D8F-9E68-52DE5DDDED8D}"/>
          </ac:spMkLst>
        </pc:spChg>
      </pc:sldChg>
      <pc:sldChg chg="del">
        <pc:chgData name="Thomas Stensitzki" userId="75cafe6b-2f2a-469b-85c4-eec3b9c972ba" providerId="ADAL" clId="{732483C3-CB0C-4598-9DB1-778FE3877DE7}" dt="2022-02-13T12:29:09.990" v="73" actId="47"/>
        <pc:sldMkLst>
          <pc:docMk/>
          <pc:sldMk cId="2906341100" sldId="568"/>
        </pc:sldMkLst>
      </pc:sldChg>
      <pc:sldChg chg="addSp delSp modSp new mod modTransition modNotesTx">
        <pc:chgData name="Thomas Stensitzki" userId="75cafe6b-2f2a-469b-85c4-eec3b9c972ba" providerId="ADAL" clId="{732483C3-CB0C-4598-9DB1-778FE3877DE7}" dt="2022-02-16T13:35:41.009" v="1677"/>
        <pc:sldMkLst>
          <pc:docMk/>
          <pc:sldMk cId="1152622229" sldId="569"/>
        </pc:sldMkLst>
        <pc:spChg chg="mod">
          <ac:chgData name="Thomas Stensitzki" userId="75cafe6b-2f2a-469b-85c4-eec3b9c972ba" providerId="ADAL" clId="{732483C3-CB0C-4598-9DB1-778FE3877DE7}" dt="2022-02-13T12:52:27.868" v="345"/>
          <ac:spMkLst>
            <pc:docMk/>
            <pc:sldMk cId="1152622229" sldId="569"/>
            <ac:spMk id="2" creationId="{D134A1E6-1853-44BA-9137-1BEBEA3C99F0}"/>
          </ac:spMkLst>
        </pc:spChg>
        <pc:spChg chg="del">
          <ac:chgData name="Thomas Stensitzki" userId="75cafe6b-2f2a-469b-85c4-eec3b9c972ba" providerId="ADAL" clId="{732483C3-CB0C-4598-9DB1-778FE3877DE7}" dt="2022-02-13T12:52:55.345" v="346" actId="478"/>
          <ac:spMkLst>
            <pc:docMk/>
            <pc:sldMk cId="1152622229" sldId="569"/>
            <ac:spMk id="3" creationId="{DEDCB31E-113D-46E3-BC44-C4B104FC3C5E}"/>
          </ac:spMkLst>
        </pc:spChg>
        <pc:spChg chg="add del">
          <ac:chgData name="Thomas Stensitzki" userId="75cafe6b-2f2a-469b-85c4-eec3b9c972ba" providerId="ADAL" clId="{732483C3-CB0C-4598-9DB1-778FE3877DE7}" dt="2022-02-13T12:53:00.511" v="348" actId="22"/>
          <ac:spMkLst>
            <pc:docMk/>
            <pc:sldMk cId="1152622229" sldId="569"/>
            <ac:spMk id="5" creationId="{149A395E-84FB-4E0E-A6A6-74CFBAF08561}"/>
          </ac:spMkLst>
        </pc:spChg>
        <pc:spChg chg="add mod">
          <ac:chgData name="Thomas Stensitzki" userId="75cafe6b-2f2a-469b-85c4-eec3b9c972ba" providerId="ADAL" clId="{732483C3-CB0C-4598-9DB1-778FE3877DE7}" dt="2022-02-13T12:54:31.382" v="359" actId="11530"/>
          <ac:spMkLst>
            <pc:docMk/>
            <pc:sldMk cId="1152622229" sldId="569"/>
            <ac:spMk id="7" creationId="{75A56EB6-960B-4016-97A6-CA24652E2B73}"/>
          </ac:spMkLst>
        </pc:spChg>
        <pc:picChg chg="add mod">
          <ac:chgData name="Thomas Stensitzki" userId="75cafe6b-2f2a-469b-85c4-eec3b9c972ba" providerId="ADAL" clId="{732483C3-CB0C-4598-9DB1-778FE3877DE7}" dt="2022-02-13T12:53:37.056" v="352" actId="1440"/>
          <ac:picMkLst>
            <pc:docMk/>
            <pc:sldMk cId="1152622229" sldId="569"/>
            <ac:picMk id="1026" creationId="{17A553F8-26FB-43E5-A033-ACFB8F72AABF}"/>
          </ac:picMkLst>
        </pc:picChg>
      </pc:sldChg>
      <pc:sldChg chg="del">
        <pc:chgData name="Thomas Stensitzki" userId="75cafe6b-2f2a-469b-85c4-eec3b9c972ba" providerId="ADAL" clId="{732483C3-CB0C-4598-9DB1-778FE3877DE7}" dt="2022-02-13T12:29:09.990" v="73" actId="47"/>
        <pc:sldMkLst>
          <pc:docMk/>
          <pc:sldMk cId="3640343721" sldId="569"/>
        </pc:sldMkLst>
      </pc:sldChg>
      <pc:sldChg chg="del">
        <pc:chgData name="Thomas Stensitzki" userId="75cafe6b-2f2a-469b-85c4-eec3b9c972ba" providerId="ADAL" clId="{732483C3-CB0C-4598-9DB1-778FE3877DE7}" dt="2022-02-13T12:29:09.990" v="73" actId="47"/>
        <pc:sldMkLst>
          <pc:docMk/>
          <pc:sldMk cId="1487249929" sldId="570"/>
        </pc:sldMkLst>
      </pc:sldChg>
      <pc:sldChg chg="addSp modSp new mod modTransition modNotesTx">
        <pc:chgData name="Thomas Stensitzki" userId="75cafe6b-2f2a-469b-85c4-eec3b9c972ba" providerId="ADAL" clId="{732483C3-CB0C-4598-9DB1-778FE3877DE7}" dt="2022-02-16T13:35:41.009" v="1677"/>
        <pc:sldMkLst>
          <pc:docMk/>
          <pc:sldMk cId="1687430561" sldId="570"/>
        </pc:sldMkLst>
        <pc:spChg chg="mod">
          <ac:chgData name="Thomas Stensitzki" userId="75cafe6b-2f2a-469b-85c4-eec3b9c972ba" providerId="ADAL" clId="{732483C3-CB0C-4598-9DB1-778FE3877DE7}" dt="2022-02-13T12:59:30.721" v="463" actId="1076"/>
          <ac:spMkLst>
            <pc:docMk/>
            <pc:sldMk cId="1687430561" sldId="570"/>
            <ac:spMk id="2" creationId="{B65A418D-D640-48C7-A300-246643E23BDE}"/>
          </ac:spMkLst>
        </pc:spChg>
        <pc:spChg chg="mod">
          <ac:chgData name="Thomas Stensitzki" userId="75cafe6b-2f2a-469b-85c4-eec3b9c972ba" providerId="ADAL" clId="{732483C3-CB0C-4598-9DB1-778FE3877DE7}" dt="2022-02-13T12:59:15.099" v="460" actId="6549"/>
          <ac:spMkLst>
            <pc:docMk/>
            <pc:sldMk cId="1687430561" sldId="570"/>
            <ac:spMk id="3" creationId="{700F3494-0841-4002-904A-7AC9949D6AF0}"/>
          </ac:spMkLst>
        </pc:spChg>
        <pc:picChg chg="add mod">
          <ac:chgData name="Thomas Stensitzki" userId="75cafe6b-2f2a-469b-85c4-eec3b9c972ba" providerId="ADAL" clId="{732483C3-CB0C-4598-9DB1-778FE3877DE7}" dt="2022-02-13T12:59:44.152" v="465" actId="1440"/>
          <ac:picMkLst>
            <pc:docMk/>
            <pc:sldMk cId="1687430561" sldId="570"/>
            <ac:picMk id="2050" creationId="{0C202E6E-91EF-4C4D-9DF6-2046E7E2816F}"/>
          </ac:picMkLst>
        </pc:picChg>
      </pc:sldChg>
      <pc:sldChg chg="del">
        <pc:chgData name="Thomas Stensitzki" userId="75cafe6b-2f2a-469b-85c4-eec3b9c972ba" providerId="ADAL" clId="{732483C3-CB0C-4598-9DB1-778FE3877DE7}" dt="2022-02-13T12:29:17.530" v="74" actId="47"/>
        <pc:sldMkLst>
          <pc:docMk/>
          <pc:sldMk cId="3439814073" sldId="571"/>
        </pc:sldMkLst>
      </pc:sldChg>
      <pc:sldChg chg="modSp new mod modTransition modNotesTx">
        <pc:chgData name="Thomas Stensitzki" userId="75cafe6b-2f2a-469b-85c4-eec3b9c972ba" providerId="ADAL" clId="{732483C3-CB0C-4598-9DB1-778FE3877DE7}" dt="2022-02-16T13:35:41.009" v="1677"/>
        <pc:sldMkLst>
          <pc:docMk/>
          <pc:sldMk cId="3500137736" sldId="571"/>
        </pc:sldMkLst>
        <pc:spChg chg="mod">
          <ac:chgData name="Thomas Stensitzki" userId="75cafe6b-2f2a-469b-85c4-eec3b9c972ba" providerId="ADAL" clId="{732483C3-CB0C-4598-9DB1-778FE3877DE7}" dt="2022-02-13T13:01:25.016" v="476"/>
          <ac:spMkLst>
            <pc:docMk/>
            <pc:sldMk cId="3500137736" sldId="571"/>
            <ac:spMk id="2" creationId="{72018619-2CAF-432E-A6A8-ECD748C02E56}"/>
          </ac:spMkLst>
        </pc:spChg>
        <pc:spChg chg="mod">
          <ac:chgData name="Thomas Stensitzki" userId="75cafe6b-2f2a-469b-85c4-eec3b9c972ba" providerId="ADAL" clId="{732483C3-CB0C-4598-9DB1-778FE3877DE7}" dt="2022-02-13T13:02:16.429" v="477"/>
          <ac:spMkLst>
            <pc:docMk/>
            <pc:sldMk cId="3500137736" sldId="571"/>
            <ac:spMk id="3" creationId="{A4F1D448-84D0-4496-9C85-0BA3EE3C11D8}"/>
          </ac:spMkLst>
        </pc:spChg>
      </pc:sldChg>
      <pc:sldChg chg="modSp new mod modTransition modNotesTx">
        <pc:chgData name="Thomas Stensitzki" userId="75cafe6b-2f2a-469b-85c4-eec3b9c972ba" providerId="ADAL" clId="{732483C3-CB0C-4598-9DB1-778FE3877DE7}" dt="2022-02-16T13:37:00.310" v="1735" actId="20577"/>
        <pc:sldMkLst>
          <pc:docMk/>
          <pc:sldMk cId="3650339848" sldId="572"/>
        </pc:sldMkLst>
        <pc:spChg chg="mod">
          <ac:chgData name="Thomas Stensitzki" userId="75cafe6b-2f2a-469b-85c4-eec3b9c972ba" providerId="ADAL" clId="{732483C3-CB0C-4598-9DB1-778FE3877DE7}" dt="2022-02-13T13:03:23.173" v="485"/>
          <ac:spMkLst>
            <pc:docMk/>
            <pc:sldMk cId="3650339848" sldId="572"/>
            <ac:spMk id="2" creationId="{4AF704F4-5793-49CA-9C72-9AB75DFEFCA3}"/>
          </ac:spMkLst>
        </pc:spChg>
        <pc:spChg chg="mod">
          <ac:chgData name="Thomas Stensitzki" userId="75cafe6b-2f2a-469b-85c4-eec3b9c972ba" providerId="ADAL" clId="{732483C3-CB0C-4598-9DB1-778FE3877DE7}" dt="2022-02-16T13:37:00.310" v="1735" actId="20577"/>
          <ac:spMkLst>
            <pc:docMk/>
            <pc:sldMk cId="3650339848" sldId="572"/>
            <ac:spMk id="3" creationId="{FB4F1D8E-EA0D-4E76-891B-10A0B7D3A069}"/>
          </ac:spMkLst>
        </pc:spChg>
      </pc:sldChg>
      <pc:sldChg chg="del">
        <pc:chgData name="Thomas Stensitzki" userId="75cafe6b-2f2a-469b-85c4-eec3b9c972ba" providerId="ADAL" clId="{732483C3-CB0C-4598-9DB1-778FE3877DE7}" dt="2022-02-13T12:29:48.194" v="77" actId="47"/>
        <pc:sldMkLst>
          <pc:docMk/>
          <pc:sldMk cId="3856037473" sldId="572"/>
        </pc:sldMkLst>
      </pc:sldChg>
      <pc:sldChg chg="del">
        <pc:chgData name="Thomas Stensitzki" userId="75cafe6b-2f2a-469b-85c4-eec3b9c972ba" providerId="ADAL" clId="{732483C3-CB0C-4598-9DB1-778FE3877DE7}" dt="2022-02-13T12:29:09.990" v="73" actId="47"/>
        <pc:sldMkLst>
          <pc:docMk/>
          <pc:sldMk cId="438806011" sldId="573"/>
        </pc:sldMkLst>
      </pc:sldChg>
      <pc:sldChg chg="addSp delSp modSp new mod modTransition">
        <pc:chgData name="Thomas Stensitzki" userId="75cafe6b-2f2a-469b-85c4-eec3b9c972ba" providerId="ADAL" clId="{732483C3-CB0C-4598-9DB1-778FE3877DE7}" dt="2022-02-16T13:35:41.009" v="1677"/>
        <pc:sldMkLst>
          <pc:docMk/>
          <pc:sldMk cId="1013366872" sldId="573"/>
        </pc:sldMkLst>
        <pc:spChg chg="mod">
          <ac:chgData name="Thomas Stensitzki" userId="75cafe6b-2f2a-469b-85c4-eec3b9c972ba" providerId="ADAL" clId="{732483C3-CB0C-4598-9DB1-778FE3877DE7}" dt="2022-02-13T13:08:48.738" v="585"/>
          <ac:spMkLst>
            <pc:docMk/>
            <pc:sldMk cId="1013366872" sldId="573"/>
            <ac:spMk id="2" creationId="{529C4F4D-6397-41DA-944A-CF3D73EDBDF4}"/>
          </ac:spMkLst>
        </pc:spChg>
        <pc:spChg chg="del">
          <ac:chgData name="Thomas Stensitzki" userId="75cafe6b-2f2a-469b-85c4-eec3b9c972ba" providerId="ADAL" clId="{732483C3-CB0C-4598-9DB1-778FE3877DE7}" dt="2022-02-13T13:09:09.901" v="586" actId="478"/>
          <ac:spMkLst>
            <pc:docMk/>
            <pc:sldMk cId="1013366872" sldId="573"/>
            <ac:spMk id="3" creationId="{F5CBA397-74A1-4F37-8C68-56FA72B7281E}"/>
          </ac:spMkLst>
        </pc:spChg>
        <pc:spChg chg="add mod">
          <ac:chgData name="Thomas Stensitzki" userId="75cafe6b-2f2a-469b-85c4-eec3b9c972ba" providerId="ADAL" clId="{732483C3-CB0C-4598-9DB1-778FE3877DE7}" dt="2022-02-13T13:09:52.727" v="593" actId="14100"/>
          <ac:spMkLst>
            <pc:docMk/>
            <pc:sldMk cId="1013366872" sldId="573"/>
            <ac:spMk id="5" creationId="{AF2206FE-E125-4BB8-A4FB-6790C85E456D}"/>
          </ac:spMkLst>
        </pc:spChg>
        <pc:picChg chg="add mod">
          <ac:chgData name="Thomas Stensitzki" userId="75cafe6b-2f2a-469b-85c4-eec3b9c972ba" providerId="ADAL" clId="{732483C3-CB0C-4598-9DB1-778FE3877DE7}" dt="2022-02-13T13:09:29.785" v="590" actId="1440"/>
          <ac:picMkLst>
            <pc:docMk/>
            <pc:sldMk cId="1013366872" sldId="573"/>
            <ac:picMk id="3074" creationId="{D6F0604D-887C-4CCF-AD31-4C8A7DFFC46A}"/>
          </ac:picMkLst>
        </pc:picChg>
      </pc:sldChg>
      <pc:sldChg chg="del">
        <pc:chgData name="Thomas Stensitzki" userId="75cafe6b-2f2a-469b-85c4-eec3b9c972ba" providerId="ADAL" clId="{732483C3-CB0C-4598-9DB1-778FE3877DE7}" dt="2022-02-13T12:29:09.990" v="73" actId="47"/>
        <pc:sldMkLst>
          <pc:docMk/>
          <pc:sldMk cId="1351629711" sldId="574"/>
        </pc:sldMkLst>
      </pc:sldChg>
      <pc:sldChg chg="addSp modSp new mod modTransition">
        <pc:chgData name="Thomas Stensitzki" userId="75cafe6b-2f2a-469b-85c4-eec3b9c972ba" providerId="ADAL" clId="{732483C3-CB0C-4598-9DB1-778FE3877DE7}" dt="2022-02-16T13:39:26.308" v="1796" actId="20577"/>
        <pc:sldMkLst>
          <pc:docMk/>
          <pc:sldMk cId="3064786489" sldId="574"/>
        </pc:sldMkLst>
        <pc:spChg chg="mod">
          <ac:chgData name="Thomas Stensitzki" userId="75cafe6b-2f2a-469b-85c4-eec3b9c972ba" providerId="ADAL" clId="{732483C3-CB0C-4598-9DB1-778FE3877DE7}" dt="2022-02-13T13:36:27.855" v="621"/>
          <ac:spMkLst>
            <pc:docMk/>
            <pc:sldMk cId="3064786489" sldId="574"/>
            <ac:spMk id="2" creationId="{FBC6064E-5EE8-453C-8B3F-2CD673C03B44}"/>
          </ac:spMkLst>
        </pc:spChg>
        <pc:spChg chg="mod">
          <ac:chgData name="Thomas Stensitzki" userId="75cafe6b-2f2a-469b-85c4-eec3b9c972ba" providerId="ADAL" clId="{732483C3-CB0C-4598-9DB1-778FE3877DE7}" dt="2022-02-16T13:39:26.308" v="1796" actId="20577"/>
          <ac:spMkLst>
            <pc:docMk/>
            <pc:sldMk cId="3064786489" sldId="574"/>
            <ac:spMk id="3" creationId="{E4843152-CFE7-423B-860D-D9674DAF34EE}"/>
          </ac:spMkLst>
        </pc:spChg>
        <pc:picChg chg="add mod">
          <ac:chgData name="Thomas Stensitzki" userId="75cafe6b-2f2a-469b-85c4-eec3b9c972ba" providerId="ADAL" clId="{732483C3-CB0C-4598-9DB1-778FE3877DE7}" dt="2022-02-16T13:39:02.539" v="1792" actId="1440"/>
          <ac:picMkLst>
            <pc:docMk/>
            <pc:sldMk cId="3064786489" sldId="574"/>
            <ac:picMk id="4098" creationId="{9E78F526-137A-4B35-A6B9-0E97739C21F4}"/>
          </ac:picMkLst>
        </pc:picChg>
      </pc:sldChg>
      <pc:sldChg chg="del">
        <pc:chgData name="Thomas Stensitzki" userId="75cafe6b-2f2a-469b-85c4-eec3b9c972ba" providerId="ADAL" clId="{732483C3-CB0C-4598-9DB1-778FE3877DE7}" dt="2022-02-13T12:29:09.990" v="73" actId="47"/>
        <pc:sldMkLst>
          <pc:docMk/>
          <pc:sldMk cId="482620437" sldId="575"/>
        </pc:sldMkLst>
      </pc:sldChg>
      <pc:sldChg chg="modSp add mod ord modTransition">
        <pc:chgData name="Thomas Stensitzki" userId="75cafe6b-2f2a-469b-85c4-eec3b9c972ba" providerId="ADAL" clId="{732483C3-CB0C-4598-9DB1-778FE3877DE7}" dt="2022-02-16T13:35:41.009" v="1677"/>
        <pc:sldMkLst>
          <pc:docMk/>
          <pc:sldMk cId="2959338283" sldId="575"/>
        </pc:sldMkLst>
        <pc:spChg chg="mod">
          <ac:chgData name="Thomas Stensitzki" userId="75cafe6b-2f2a-469b-85c4-eec3b9c972ba" providerId="ADAL" clId="{732483C3-CB0C-4598-9DB1-778FE3877DE7}" dt="2022-02-14T11:34:16.007" v="1269" actId="1035"/>
          <ac:spMkLst>
            <pc:docMk/>
            <pc:sldMk cId="2959338283" sldId="575"/>
            <ac:spMk id="2" creationId="{909DC09D-B9A6-4493-9A72-1CA7ECB1F5CA}"/>
          </ac:spMkLst>
        </pc:spChg>
        <pc:spChg chg="mod">
          <ac:chgData name="Thomas Stensitzki" userId="75cafe6b-2f2a-469b-85c4-eec3b9c972ba" providerId="ADAL" clId="{732483C3-CB0C-4598-9DB1-778FE3877DE7}" dt="2022-02-14T08:51:53" v="1204"/>
          <ac:spMkLst>
            <pc:docMk/>
            <pc:sldMk cId="2959338283" sldId="575"/>
            <ac:spMk id="5" creationId="{C24DACB5-1BEC-4C86-9652-BAFD8DE56FEF}"/>
          </ac:spMkLst>
        </pc:spChg>
      </pc:sldChg>
      <pc:sldChg chg="addSp delSp modSp new mod modTransition modAnim modNotesTx">
        <pc:chgData name="Thomas Stensitzki" userId="75cafe6b-2f2a-469b-85c4-eec3b9c972ba" providerId="ADAL" clId="{732483C3-CB0C-4598-9DB1-778FE3877DE7}" dt="2022-02-16T13:40:46.227" v="1802" actId="1076"/>
        <pc:sldMkLst>
          <pc:docMk/>
          <pc:sldMk cId="267886642" sldId="576"/>
        </pc:sldMkLst>
        <pc:spChg chg="mod">
          <ac:chgData name="Thomas Stensitzki" userId="75cafe6b-2f2a-469b-85c4-eec3b9c972ba" providerId="ADAL" clId="{732483C3-CB0C-4598-9DB1-778FE3877DE7}" dt="2022-02-13T13:38:41.418" v="651"/>
          <ac:spMkLst>
            <pc:docMk/>
            <pc:sldMk cId="267886642" sldId="576"/>
            <ac:spMk id="2" creationId="{89843AE1-87BD-4263-8527-5A5117F6CE06}"/>
          </ac:spMkLst>
        </pc:spChg>
        <pc:spChg chg="del">
          <ac:chgData name="Thomas Stensitzki" userId="75cafe6b-2f2a-469b-85c4-eec3b9c972ba" providerId="ADAL" clId="{732483C3-CB0C-4598-9DB1-778FE3877DE7}" dt="2022-02-13T13:39:03.050" v="653" actId="478"/>
          <ac:spMkLst>
            <pc:docMk/>
            <pc:sldMk cId="267886642" sldId="576"/>
            <ac:spMk id="3" creationId="{CE4850BA-55A8-4DFD-A73A-C49ADEA45D9E}"/>
          </ac:spMkLst>
        </pc:spChg>
        <pc:spChg chg="add mod">
          <ac:chgData name="Thomas Stensitzki" userId="75cafe6b-2f2a-469b-85c4-eec3b9c972ba" providerId="ADAL" clId="{732483C3-CB0C-4598-9DB1-778FE3877DE7}" dt="2022-02-16T13:40:36.290" v="1801" actId="14100"/>
          <ac:spMkLst>
            <pc:docMk/>
            <pc:sldMk cId="267886642" sldId="576"/>
            <ac:spMk id="5" creationId="{DB51CC4D-58A1-41A1-8B67-9B71EF6CFE7A}"/>
          </ac:spMkLst>
        </pc:spChg>
        <pc:picChg chg="add mod">
          <ac:chgData name="Thomas Stensitzki" userId="75cafe6b-2f2a-469b-85c4-eec3b9c972ba" providerId="ADAL" clId="{732483C3-CB0C-4598-9DB1-778FE3877DE7}" dt="2022-02-13T13:39:28.915" v="659" actId="1076"/>
          <ac:picMkLst>
            <pc:docMk/>
            <pc:sldMk cId="267886642" sldId="576"/>
            <ac:picMk id="5122" creationId="{341A99A4-FFA5-49A2-857B-71EDA6366F0A}"/>
          </ac:picMkLst>
        </pc:picChg>
        <pc:picChg chg="add mod">
          <ac:chgData name="Thomas Stensitzki" userId="75cafe6b-2f2a-469b-85c4-eec3b9c972ba" providerId="ADAL" clId="{732483C3-CB0C-4598-9DB1-778FE3877DE7}" dt="2022-02-16T13:40:46.227" v="1802" actId="1076"/>
          <ac:picMkLst>
            <pc:docMk/>
            <pc:sldMk cId="267886642" sldId="576"/>
            <ac:picMk id="5124" creationId="{6B04FE5D-029D-4028-BA72-74A013D5D499}"/>
          </ac:picMkLst>
        </pc:picChg>
      </pc:sldChg>
      <pc:sldChg chg="add del">
        <pc:chgData name="Thomas Stensitzki" userId="75cafe6b-2f2a-469b-85c4-eec3b9c972ba" providerId="ADAL" clId="{732483C3-CB0C-4598-9DB1-778FE3877DE7}" dt="2022-02-13T12:29:48.194" v="77" actId="47"/>
        <pc:sldMkLst>
          <pc:docMk/>
          <pc:sldMk cId="1228494520" sldId="576"/>
        </pc:sldMkLst>
      </pc:sldChg>
      <pc:sldChg chg="add del">
        <pc:chgData name="Thomas Stensitzki" userId="75cafe6b-2f2a-469b-85c4-eec3b9c972ba" providerId="ADAL" clId="{732483C3-CB0C-4598-9DB1-778FE3877DE7}" dt="2022-02-13T12:29:48.194" v="77" actId="47"/>
        <pc:sldMkLst>
          <pc:docMk/>
          <pc:sldMk cId="2011711741" sldId="577"/>
        </pc:sldMkLst>
      </pc:sldChg>
      <pc:sldChg chg="addSp modSp new mod modTransition">
        <pc:chgData name="Thomas Stensitzki" userId="75cafe6b-2f2a-469b-85c4-eec3b9c972ba" providerId="ADAL" clId="{732483C3-CB0C-4598-9DB1-778FE3877DE7}" dt="2022-02-16T13:35:41.009" v="1677"/>
        <pc:sldMkLst>
          <pc:docMk/>
          <pc:sldMk cId="3394268917" sldId="577"/>
        </pc:sldMkLst>
        <pc:spChg chg="mod">
          <ac:chgData name="Thomas Stensitzki" userId="75cafe6b-2f2a-469b-85c4-eec3b9c972ba" providerId="ADAL" clId="{732483C3-CB0C-4598-9DB1-778FE3877DE7}" dt="2022-02-13T13:40:44.909" v="666"/>
          <ac:spMkLst>
            <pc:docMk/>
            <pc:sldMk cId="3394268917" sldId="577"/>
            <ac:spMk id="2" creationId="{14E06E20-F5A8-4CF9-9629-C11ACC38DD5C}"/>
          </ac:spMkLst>
        </pc:spChg>
        <pc:spChg chg="mod">
          <ac:chgData name="Thomas Stensitzki" userId="75cafe6b-2f2a-469b-85c4-eec3b9c972ba" providerId="ADAL" clId="{732483C3-CB0C-4598-9DB1-778FE3877DE7}" dt="2022-02-13T13:45:13.531" v="718" actId="20577"/>
          <ac:spMkLst>
            <pc:docMk/>
            <pc:sldMk cId="3394268917" sldId="577"/>
            <ac:spMk id="3" creationId="{D3D386A5-5B5A-4243-89A1-011C243D89A4}"/>
          </ac:spMkLst>
        </pc:spChg>
        <pc:picChg chg="add mod">
          <ac:chgData name="Thomas Stensitzki" userId="75cafe6b-2f2a-469b-85c4-eec3b9c972ba" providerId="ADAL" clId="{732483C3-CB0C-4598-9DB1-778FE3877DE7}" dt="2022-02-13T13:41:00.137" v="669" actId="1440"/>
          <ac:picMkLst>
            <pc:docMk/>
            <pc:sldMk cId="3394268917" sldId="577"/>
            <ac:picMk id="6146" creationId="{1EF13E2D-2D5F-4BD3-A3ED-3805FD26C60A}"/>
          </ac:picMkLst>
        </pc:picChg>
        <pc:picChg chg="add mod">
          <ac:chgData name="Thomas Stensitzki" userId="75cafe6b-2f2a-469b-85c4-eec3b9c972ba" providerId="ADAL" clId="{732483C3-CB0C-4598-9DB1-778FE3877DE7}" dt="2022-02-13T13:41:53.514" v="675" actId="1440"/>
          <ac:picMkLst>
            <pc:docMk/>
            <pc:sldMk cId="3394268917" sldId="577"/>
            <ac:picMk id="6148" creationId="{62EBD371-2D59-4540-BD6F-91B4F6A6F34D}"/>
          </ac:picMkLst>
        </pc:picChg>
      </pc:sldChg>
      <pc:sldChg chg="addSp modSp new mod modTransition modAnim">
        <pc:chgData name="Thomas Stensitzki" userId="75cafe6b-2f2a-469b-85c4-eec3b9c972ba" providerId="ADAL" clId="{732483C3-CB0C-4598-9DB1-778FE3877DE7}" dt="2022-02-16T13:42:51.770" v="1821"/>
        <pc:sldMkLst>
          <pc:docMk/>
          <pc:sldMk cId="42815850" sldId="578"/>
        </pc:sldMkLst>
        <pc:spChg chg="mod">
          <ac:chgData name="Thomas Stensitzki" userId="75cafe6b-2f2a-469b-85c4-eec3b9c972ba" providerId="ADAL" clId="{732483C3-CB0C-4598-9DB1-778FE3877DE7}" dt="2022-02-13T13:46:01.694" v="722"/>
          <ac:spMkLst>
            <pc:docMk/>
            <pc:sldMk cId="42815850" sldId="578"/>
            <ac:spMk id="2" creationId="{F2BAC164-C67C-4CF6-8FEF-0A58F7C186FB}"/>
          </ac:spMkLst>
        </pc:spChg>
        <pc:spChg chg="mod">
          <ac:chgData name="Thomas Stensitzki" userId="75cafe6b-2f2a-469b-85c4-eec3b9c972ba" providerId="ADAL" clId="{732483C3-CB0C-4598-9DB1-778FE3877DE7}" dt="2022-02-13T13:47:40.594" v="918" actId="20577"/>
          <ac:spMkLst>
            <pc:docMk/>
            <pc:sldMk cId="42815850" sldId="578"/>
            <ac:spMk id="3" creationId="{61FAB764-0135-40E5-880E-B674B87488B2}"/>
          </ac:spMkLst>
        </pc:spChg>
        <pc:spChg chg="add mod">
          <ac:chgData name="Thomas Stensitzki" userId="75cafe6b-2f2a-469b-85c4-eec3b9c972ba" providerId="ADAL" clId="{732483C3-CB0C-4598-9DB1-778FE3877DE7}" dt="2022-02-16T13:42:20.013" v="1814" actId="1076"/>
          <ac:spMkLst>
            <pc:docMk/>
            <pc:sldMk cId="42815850" sldId="578"/>
            <ac:spMk id="6" creationId="{B07F98FC-3D39-4D44-B4B7-EE3809037F7F}"/>
          </ac:spMkLst>
        </pc:spChg>
        <pc:spChg chg="add mod">
          <ac:chgData name="Thomas Stensitzki" userId="75cafe6b-2f2a-469b-85c4-eec3b9c972ba" providerId="ADAL" clId="{732483C3-CB0C-4598-9DB1-778FE3877DE7}" dt="2022-02-16T13:42:42.406" v="1819" actId="14100"/>
          <ac:spMkLst>
            <pc:docMk/>
            <pc:sldMk cId="42815850" sldId="578"/>
            <ac:spMk id="7" creationId="{5CFD42B4-85AC-4C1D-9619-39E2A48AE104}"/>
          </ac:spMkLst>
        </pc:spChg>
        <pc:picChg chg="add mod">
          <ac:chgData name="Thomas Stensitzki" userId="75cafe6b-2f2a-469b-85c4-eec3b9c972ba" providerId="ADAL" clId="{732483C3-CB0C-4598-9DB1-778FE3877DE7}" dt="2022-02-16T13:42:15.053" v="1813" actId="1076"/>
          <ac:picMkLst>
            <pc:docMk/>
            <pc:sldMk cId="42815850" sldId="578"/>
            <ac:picMk id="7170" creationId="{05E65FA8-5D0A-43D3-A0DE-BB2312EB1910}"/>
          </ac:picMkLst>
        </pc:picChg>
        <pc:picChg chg="add mod">
          <ac:chgData name="Thomas Stensitzki" userId="75cafe6b-2f2a-469b-85c4-eec3b9c972ba" providerId="ADAL" clId="{732483C3-CB0C-4598-9DB1-778FE3877DE7}" dt="2022-02-16T13:42:24.405" v="1815" actId="1076"/>
          <ac:picMkLst>
            <pc:docMk/>
            <pc:sldMk cId="42815850" sldId="578"/>
            <ac:picMk id="7172" creationId="{91719DFD-3AFB-46AB-ADBC-A2DC13B65408}"/>
          </ac:picMkLst>
        </pc:picChg>
      </pc:sldChg>
      <pc:sldChg chg="add del">
        <pc:chgData name="Thomas Stensitzki" userId="75cafe6b-2f2a-469b-85c4-eec3b9c972ba" providerId="ADAL" clId="{732483C3-CB0C-4598-9DB1-778FE3877DE7}" dt="2022-02-13T12:29:48.194" v="77" actId="47"/>
        <pc:sldMkLst>
          <pc:docMk/>
          <pc:sldMk cId="4025581486" sldId="578"/>
        </pc:sldMkLst>
      </pc:sldChg>
      <pc:sldChg chg="add del">
        <pc:chgData name="Thomas Stensitzki" userId="75cafe6b-2f2a-469b-85c4-eec3b9c972ba" providerId="ADAL" clId="{732483C3-CB0C-4598-9DB1-778FE3877DE7}" dt="2022-02-13T12:29:48.194" v="77" actId="47"/>
        <pc:sldMkLst>
          <pc:docMk/>
          <pc:sldMk cId="3181657178" sldId="579"/>
        </pc:sldMkLst>
      </pc:sldChg>
      <pc:sldChg chg="modSp new del mod modTransition">
        <pc:chgData name="Thomas Stensitzki" userId="75cafe6b-2f2a-469b-85c4-eec3b9c972ba" providerId="ADAL" clId="{732483C3-CB0C-4598-9DB1-778FE3877DE7}" dt="2022-02-16T13:48:26.935" v="1849" actId="47"/>
        <pc:sldMkLst>
          <pc:docMk/>
          <pc:sldMk cId="3415779109" sldId="579"/>
        </pc:sldMkLst>
        <pc:spChg chg="mod">
          <ac:chgData name="Thomas Stensitzki" userId="75cafe6b-2f2a-469b-85c4-eec3b9c972ba" providerId="ADAL" clId="{732483C3-CB0C-4598-9DB1-778FE3877DE7}" dt="2022-02-13T13:50:42.335" v="929"/>
          <ac:spMkLst>
            <pc:docMk/>
            <pc:sldMk cId="3415779109" sldId="579"/>
            <ac:spMk id="2" creationId="{75150DFA-0036-42B2-B4B8-455E5CBE9AA4}"/>
          </ac:spMkLst>
        </pc:spChg>
      </pc:sldChg>
      <pc:sldChg chg="add del">
        <pc:chgData name="Thomas Stensitzki" userId="75cafe6b-2f2a-469b-85c4-eec3b9c972ba" providerId="ADAL" clId="{732483C3-CB0C-4598-9DB1-778FE3877DE7}" dt="2022-02-13T12:29:48.194" v="77" actId="47"/>
        <pc:sldMkLst>
          <pc:docMk/>
          <pc:sldMk cId="324323579" sldId="580"/>
        </pc:sldMkLst>
      </pc:sldChg>
      <pc:sldChg chg="modSp add mod ord modTransition modNotesTx">
        <pc:chgData name="Thomas Stensitzki" userId="75cafe6b-2f2a-469b-85c4-eec3b9c972ba" providerId="ADAL" clId="{732483C3-CB0C-4598-9DB1-778FE3877DE7}" dt="2022-02-16T13:52:25.024" v="1891" actId="6549"/>
        <pc:sldMkLst>
          <pc:docMk/>
          <pc:sldMk cId="1853019381" sldId="580"/>
        </pc:sldMkLst>
        <pc:spChg chg="mod">
          <ac:chgData name="Thomas Stensitzki" userId="75cafe6b-2f2a-469b-85c4-eec3b9c972ba" providerId="ADAL" clId="{732483C3-CB0C-4598-9DB1-778FE3877DE7}" dt="2022-02-16T13:50:53.819" v="1881" actId="1076"/>
          <ac:spMkLst>
            <pc:docMk/>
            <pc:sldMk cId="1853019381" sldId="580"/>
            <ac:spMk id="2" creationId="{909DC09D-B9A6-4493-9A72-1CA7ECB1F5CA}"/>
          </ac:spMkLst>
        </pc:spChg>
        <pc:spChg chg="mod">
          <ac:chgData name="Thomas Stensitzki" userId="75cafe6b-2f2a-469b-85c4-eec3b9c972ba" providerId="ADAL" clId="{732483C3-CB0C-4598-9DB1-778FE3877DE7}" dt="2022-02-16T13:51:36.032" v="1888" actId="20577"/>
          <ac:spMkLst>
            <pc:docMk/>
            <pc:sldMk cId="1853019381" sldId="580"/>
            <ac:spMk id="5" creationId="{C24DACB5-1BEC-4C86-9652-BAFD8DE56FEF}"/>
          </ac:spMkLst>
        </pc:spChg>
      </pc:sldChg>
      <pc:sldChg chg="modSp new mod modTransition modNotesTx">
        <pc:chgData name="Thomas Stensitzki" userId="75cafe6b-2f2a-469b-85c4-eec3b9c972ba" providerId="ADAL" clId="{732483C3-CB0C-4598-9DB1-778FE3877DE7}" dt="2022-02-16T13:45:19.322" v="1829" actId="113"/>
        <pc:sldMkLst>
          <pc:docMk/>
          <pc:sldMk cId="2983071606" sldId="581"/>
        </pc:sldMkLst>
        <pc:spChg chg="mod">
          <ac:chgData name="Thomas Stensitzki" userId="75cafe6b-2f2a-469b-85c4-eec3b9c972ba" providerId="ADAL" clId="{732483C3-CB0C-4598-9DB1-778FE3877DE7}" dt="2022-02-13T13:54:02.519" v="936"/>
          <ac:spMkLst>
            <pc:docMk/>
            <pc:sldMk cId="2983071606" sldId="581"/>
            <ac:spMk id="2" creationId="{72A8CA07-04E5-4D86-AF4F-FD491A7FB84D}"/>
          </ac:spMkLst>
        </pc:spChg>
        <pc:spChg chg="mod">
          <ac:chgData name="Thomas Stensitzki" userId="75cafe6b-2f2a-469b-85c4-eec3b9c972ba" providerId="ADAL" clId="{732483C3-CB0C-4598-9DB1-778FE3877DE7}" dt="2022-02-16T13:45:19.322" v="1829" actId="113"/>
          <ac:spMkLst>
            <pc:docMk/>
            <pc:sldMk cId="2983071606" sldId="581"/>
            <ac:spMk id="3" creationId="{B13549D5-F412-4F7E-B7AA-30C47BE72C34}"/>
          </ac:spMkLst>
        </pc:spChg>
      </pc:sldChg>
      <pc:sldChg chg="add del">
        <pc:chgData name="Thomas Stensitzki" userId="75cafe6b-2f2a-469b-85c4-eec3b9c972ba" providerId="ADAL" clId="{732483C3-CB0C-4598-9DB1-778FE3877DE7}" dt="2022-02-13T12:29:48.194" v="77" actId="47"/>
        <pc:sldMkLst>
          <pc:docMk/>
          <pc:sldMk cId="3981601369" sldId="581"/>
        </pc:sldMkLst>
      </pc:sldChg>
      <pc:sldChg chg="addSp delSp modSp new mod modTransition modNotesTx">
        <pc:chgData name="Thomas Stensitzki" userId="75cafe6b-2f2a-469b-85c4-eec3b9c972ba" providerId="ADAL" clId="{732483C3-CB0C-4598-9DB1-778FE3877DE7}" dt="2022-02-16T13:46:29.889" v="1837" actId="478"/>
        <pc:sldMkLst>
          <pc:docMk/>
          <pc:sldMk cId="170210111" sldId="582"/>
        </pc:sldMkLst>
        <pc:spChg chg="mod">
          <ac:chgData name="Thomas Stensitzki" userId="75cafe6b-2f2a-469b-85c4-eec3b9c972ba" providerId="ADAL" clId="{732483C3-CB0C-4598-9DB1-778FE3877DE7}" dt="2022-02-13T13:55:11.343" v="942"/>
          <ac:spMkLst>
            <pc:docMk/>
            <pc:sldMk cId="170210111" sldId="582"/>
            <ac:spMk id="2" creationId="{B81C7D31-11B7-43A6-9C01-962FDD5B52DF}"/>
          </ac:spMkLst>
        </pc:spChg>
        <pc:spChg chg="del">
          <ac:chgData name="Thomas Stensitzki" userId="75cafe6b-2f2a-469b-85c4-eec3b9c972ba" providerId="ADAL" clId="{732483C3-CB0C-4598-9DB1-778FE3877DE7}" dt="2022-02-13T13:55:20.235" v="943" actId="478"/>
          <ac:spMkLst>
            <pc:docMk/>
            <pc:sldMk cId="170210111" sldId="582"/>
            <ac:spMk id="3" creationId="{BD2460AC-2183-42D3-AE37-214A06B80137}"/>
          </ac:spMkLst>
        </pc:spChg>
        <pc:picChg chg="add mod">
          <ac:chgData name="Thomas Stensitzki" userId="75cafe6b-2f2a-469b-85c4-eec3b9c972ba" providerId="ADAL" clId="{732483C3-CB0C-4598-9DB1-778FE3877DE7}" dt="2022-02-16T13:46:19.643" v="1835" actId="1076"/>
          <ac:picMkLst>
            <pc:docMk/>
            <pc:sldMk cId="170210111" sldId="582"/>
            <ac:picMk id="8194" creationId="{AFD980FE-4282-4263-AD1E-4D6DAC9F98E5}"/>
          </ac:picMkLst>
        </pc:picChg>
        <pc:picChg chg="add del mod">
          <ac:chgData name="Thomas Stensitzki" userId="75cafe6b-2f2a-469b-85c4-eec3b9c972ba" providerId="ADAL" clId="{732483C3-CB0C-4598-9DB1-778FE3877DE7}" dt="2022-02-16T13:46:29.889" v="1837" actId="478"/>
          <ac:picMkLst>
            <pc:docMk/>
            <pc:sldMk cId="170210111" sldId="582"/>
            <ac:picMk id="8196" creationId="{1A602696-D323-49FA-84C8-07E65F6E0E5C}"/>
          </ac:picMkLst>
        </pc:picChg>
      </pc:sldChg>
      <pc:sldChg chg="add del">
        <pc:chgData name="Thomas Stensitzki" userId="75cafe6b-2f2a-469b-85c4-eec3b9c972ba" providerId="ADAL" clId="{732483C3-CB0C-4598-9DB1-778FE3877DE7}" dt="2022-02-13T12:29:48.194" v="77" actId="47"/>
        <pc:sldMkLst>
          <pc:docMk/>
          <pc:sldMk cId="2226521450" sldId="582"/>
        </pc:sldMkLst>
      </pc:sldChg>
      <pc:sldChg chg="addSp delSp modSp new mod modTransition">
        <pc:chgData name="Thomas Stensitzki" userId="75cafe6b-2f2a-469b-85c4-eec3b9c972ba" providerId="ADAL" clId="{732483C3-CB0C-4598-9DB1-778FE3877DE7}" dt="2022-02-16T13:35:41.009" v="1677"/>
        <pc:sldMkLst>
          <pc:docMk/>
          <pc:sldMk cId="631042199" sldId="583"/>
        </pc:sldMkLst>
        <pc:spChg chg="mod">
          <ac:chgData name="Thomas Stensitzki" userId="75cafe6b-2f2a-469b-85c4-eec3b9c972ba" providerId="ADAL" clId="{732483C3-CB0C-4598-9DB1-778FE3877DE7}" dt="2022-02-14T08:39:15.570" v="1009" actId="20577"/>
          <ac:spMkLst>
            <pc:docMk/>
            <pc:sldMk cId="631042199" sldId="583"/>
            <ac:spMk id="2" creationId="{8621DF74-9799-499F-B39C-7DF69E310C72}"/>
          </ac:spMkLst>
        </pc:spChg>
        <pc:spChg chg="del">
          <ac:chgData name="Thomas Stensitzki" userId="75cafe6b-2f2a-469b-85c4-eec3b9c972ba" providerId="ADAL" clId="{732483C3-CB0C-4598-9DB1-778FE3877DE7}" dt="2022-02-14T08:40:00.259" v="1010" actId="478"/>
          <ac:spMkLst>
            <pc:docMk/>
            <pc:sldMk cId="631042199" sldId="583"/>
            <ac:spMk id="3" creationId="{6402D234-AEB1-469A-A530-6A48CDE43F77}"/>
          </ac:spMkLst>
        </pc:spChg>
        <pc:picChg chg="add mod">
          <ac:chgData name="Thomas Stensitzki" userId="75cafe6b-2f2a-469b-85c4-eec3b9c972ba" providerId="ADAL" clId="{732483C3-CB0C-4598-9DB1-778FE3877DE7}" dt="2022-02-14T08:41:56.182" v="1018" actId="1440"/>
          <ac:picMkLst>
            <pc:docMk/>
            <pc:sldMk cId="631042199" sldId="583"/>
            <ac:picMk id="5" creationId="{99B6819A-BEB1-4C2A-8907-9147194D4C88}"/>
          </ac:picMkLst>
        </pc:picChg>
        <pc:picChg chg="add mod">
          <ac:chgData name="Thomas Stensitzki" userId="75cafe6b-2f2a-469b-85c4-eec3b9c972ba" providerId="ADAL" clId="{732483C3-CB0C-4598-9DB1-778FE3877DE7}" dt="2022-02-14T08:41:50.768" v="1017" actId="1440"/>
          <ac:picMkLst>
            <pc:docMk/>
            <pc:sldMk cId="631042199" sldId="583"/>
            <ac:picMk id="7" creationId="{F53CE288-98CF-4C30-AB19-942EAB56FB1E}"/>
          </ac:picMkLst>
        </pc:picChg>
      </pc:sldChg>
      <pc:sldChg chg="del">
        <pc:chgData name="Thomas Stensitzki" userId="75cafe6b-2f2a-469b-85c4-eec3b9c972ba" providerId="ADAL" clId="{732483C3-CB0C-4598-9DB1-778FE3877DE7}" dt="2022-02-13T12:29:09.990" v="73" actId="47"/>
        <pc:sldMkLst>
          <pc:docMk/>
          <pc:sldMk cId="3960845148" sldId="583"/>
        </pc:sldMkLst>
      </pc:sldChg>
      <pc:sldChg chg="addSp delSp modSp new mod modTransition modNotesTx">
        <pc:chgData name="Thomas Stensitzki" userId="75cafe6b-2f2a-469b-85c4-eec3b9c972ba" providerId="ADAL" clId="{732483C3-CB0C-4598-9DB1-778FE3877DE7}" dt="2022-02-16T13:35:41.009" v="1677"/>
        <pc:sldMkLst>
          <pc:docMk/>
          <pc:sldMk cId="120922638" sldId="584"/>
        </pc:sldMkLst>
        <pc:spChg chg="mod">
          <ac:chgData name="Thomas Stensitzki" userId="75cafe6b-2f2a-469b-85c4-eec3b9c972ba" providerId="ADAL" clId="{732483C3-CB0C-4598-9DB1-778FE3877DE7}" dt="2022-02-14T08:45:31.792" v="1095" actId="20577"/>
          <ac:spMkLst>
            <pc:docMk/>
            <pc:sldMk cId="120922638" sldId="584"/>
            <ac:spMk id="2" creationId="{C556861E-5551-4B01-B48C-2D4520DE757F}"/>
          </ac:spMkLst>
        </pc:spChg>
        <pc:spChg chg="del">
          <ac:chgData name="Thomas Stensitzki" userId="75cafe6b-2f2a-469b-85c4-eec3b9c972ba" providerId="ADAL" clId="{732483C3-CB0C-4598-9DB1-778FE3877DE7}" dt="2022-02-14T08:43:58.338" v="1085" actId="478"/>
          <ac:spMkLst>
            <pc:docMk/>
            <pc:sldMk cId="120922638" sldId="584"/>
            <ac:spMk id="3" creationId="{75679EB0-F1DE-44FA-9D9F-82590011543F}"/>
          </ac:spMkLst>
        </pc:spChg>
        <pc:picChg chg="add mod">
          <ac:chgData name="Thomas Stensitzki" userId="75cafe6b-2f2a-469b-85c4-eec3b9c972ba" providerId="ADAL" clId="{732483C3-CB0C-4598-9DB1-778FE3877DE7}" dt="2022-02-14T08:44:17.418" v="1089" actId="1440"/>
          <ac:picMkLst>
            <pc:docMk/>
            <pc:sldMk cId="120922638" sldId="584"/>
            <ac:picMk id="1026" creationId="{46C8CDFE-B590-4228-9496-3CF0F67428E5}"/>
          </ac:picMkLst>
        </pc:picChg>
      </pc:sldChg>
      <pc:sldChg chg="del">
        <pc:chgData name="Thomas Stensitzki" userId="75cafe6b-2f2a-469b-85c4-eec3b9c972ba" providerId="ADAL" clId="{732483C3-CB0C-4598-9DB1-778FE3877DE7}" dt="2022-02-13T12:29:09.990" v="73" actId="47"/>
        <pc:sldMkLst>
          <pc:docMk/>
          <pc:sldMk cId="2871808218" sldId="584"/>
        </pc:sldMkLst>
      </pc:sldChg>
      <pc:sldChg chg="del">
        <pc:chgData name="Thomas Stensitzki" userId="75cafe6b-2f2a-469b-85c4-eec3b9c972ba" providerId="ADAL" clId="{732483C3-CB0C-4598-9DB1-778FE3877DE7}" dt="2022-02-13T12:29:09.990" v="73" actId="47"/>
        <pc:sldMkLst>
          <pc:docMk/>
          <pc:sldMk cId="180834030" sldId="585"/>
        </pc:sldMkLst>
      </pc:sldChg>
      <pc:sldChg chg="addSp delSp modSp add mod modTransition">
        <pc:chgData name="Thomas Stensitzki" userId="75cafe6b-2f2a-469b-85c4-eec3b9c972ba" providerId="ADAL" clId="{732483C3-CB0C-4598-9DB1-778FE3877DE7}" dt="2022-02-16T13:35:41.009" v="1677"/>
        <pc:sldMkLst>
          <pc:docMk/>
          <pc:sldMk cId="569684178" sldId="585"/>
        </pc:sldMkLst>
        <pc:spChg chg="mod">
          <ac:chgData name="Thomas Stensitzki" userId="75cafe6b-2f2a-469b-85c4-eec3b9c972ba" providerId="ADAL" clId="{732483C3-CB0C-4598-9DB1-778FE3877DE7}" dt="2022-02-14T08:45:28.467" v="1094" actId="20577"/>
          <ac:spMkLst>
            <pc:docMk/>
            <pc:sldMk cId="569684178" sldId="585"/>
            <ac:spMk id="2" creationId="{C556861E-5551-4B01-B48C-2D4520DE757F}"/>
          </ac:spMkLst>
        </pc:spChg>
        <pc:spChg chg="add del">
          <ac:chgData name="Thomas Stensitzki" userId="75cafe6b-2f2a-469b-85c4-eec3b9c972ba" providerId="ADAL" clId="{732483C3-CB0C-4598-9DB1-778FE3877DE7}" dt="2022-02-14T08:45:41.811" v="1096" actId="478"/>
          <ac:spMkLst>
            <pc:docMk/>
            <pc:sldMk cId="569684178" sldId="585"/>
            <ac:spMk id="5" creationId="{996F64F6-989D-4382-A713-6B60A4389175}"/>
          </ac:spMkLst>
        </pc:spChg>
        <pc:picChg chg="del">
          <ac:chgData name="Thomas Stensitzki" userId="75cafe6b-2f2a-469b-85c4-eec3b9c972ba" providerId="ADAL" clId="{732483C3-CB0C-4598-9DB1-778FE3877DE7}" dt="2022-02-14T08:45:22.503" v="1092" actId="478"/>
          <ac:picMkLst>
            <pc:docMk/>
            <pc:sldMk cId="569684178" sldId="585"/>
            <ac:picMk id="1026" creationId="{46C8CDFE-B590-4228-9496-3CF0F67428E5}"/>
          </ac:picMkLst>
        </pc:picChg>
        <pc:picChg chg="add mod">
          <ac:chgData name="Thomas Stensitzki" userId="75cafe6b-2f2a-469b-85c4-eec3b9c972ba" providerId="ADAL" clId="{732483C3-CB0C-4598-9DB1-778FE3877DE7}" dt="2022-02-14T08:46:00.363" v="1100" actId="1440"/>
          <ac:picMkLst>
            <pc:docMk/>
            <pc:sldMk cId="569684178" sldId="585"/>
            <ac:picMk id="2050" creationId="{CF5F3097-2597-47E3-91E5-2547F725485D}"/>
          </ac:picMkLst>
        </pc:picChg>
      </pc:sldChg>
      <pc:sldChg chg="addSp delSp modSp new mod modTransition">
        <pc:chgData name="Thomas Stensitzki" userId="75cafe6b-2f2a-469b-85c4-eec3b9c972ba" providerId="ADAL" clId="{732483C3-CB0C-4598-9DB1-778FE3877DE7}" dt="2022-02-16T13:35:41.009" v="1677"/>
        <pc:sldMkLst>
          <pc:docMk/>
          <pc:sldMk cId="2892638827" sldId="586"/>
        </pc:sldMkLst>
        <pc:spChg chg="mod">
          <ac:chgData name="Thomas Stensitzki" userId="75cafe6b-2f2a-469b-85c4-eec3b9c972ba" providerId="ADAL" clId="{732483C3-CB0C-4598-9DB1-778FE3877DE7}" dt="2022-02-14T08:46:41.937" v="1104"/>
          <ac:spMkLst>
            <pc:docMk/>
            <pc:sldMk cId="2892638827" sldId="586"/>
            <ac:spMk id="2" creationId="{0732E4C7-AEAA-441F-9A7C-589775E8D0DB}"/>
          </ac:spMkLst>
        </pc:spChg>
        <pc:spChg chg="del">
          <ac:chgData name="Thomas Stensitzki" userId="75cafe6b-2f2a-469b-85c4-eec3b9c972ba" providerId="ADAL" clId="{732483C3-CB0C-4598-9DB1-778FE3877DE7}" dt="2022-02-14T08:46:50.525" v="1105" actId="478"/>
          <ac:spMkLst>
            <pc:docMk/>
            <pc:sldMk cId="2892638827" sldId="586"/>
            <ac:spMk id="3" creationId="{6536894C-3936-43E3-935A-BF4E445D1CD6}"/>
          </ac:spMkLst>
        </pc:spChg>
        <pc:picChg chg="add mod">
          <ac:chgData name="Thomas Stensitzki" userId="75cafe6b-2f2a-469b-85c4-eec3b9c972ba" providerId="ADAL" clId="{732483C3-CB0C-4598-9DB1-778FE3877DE7}" dt="2022-02-14T08:47:03.180" v="1109" actId="1440"/>
          <ac:picMkLst>
            <pc:docMk/>
            <pc:sldMk cId="2892638827" sldId="586"/>
            <ac:picMk id="3074" creationId="{CC6BD41E-A67C-4B3F-964F-1E9A4F483B83}"/>
          </ac:picMkLst>
        </pc:picChg>
      </pc:sldChg>
      <pc:sldChg chg="del">
        <pc:chgData name="Thomas Stensitzki" userId="75cafe6b-2f2a-469b-85c4-eec3b9c972ba" providerId="ADAL" clId="{732483C3-CB0C-4598-9DB1-778FE3877DE7}" dt="2022-02-13T12:29:09.990" v="73" actId="47"/>
        <pc:sldMkLst>
          <pc:docMk/>
          <pc:sldMk cId="3096191333" sldId="586"/>
        </pc:sldMkLst>
      </pc:sldChg>
      <pc:sldChg chg="modSp new mod modTransition modNotesTx">
        <pc:chgData name="Thomas Stensitzki" userId="75cafe6b-2f2a-469b-85c4-eec3b9c972ba" providerId="ADAL" clId="{732483C3-CB0C-4598-9DB1-778FE3877DE7}" dt="2022-02-16T13:35:41.009" v="1677"/>
        <pc:sldMkLst>
          <pc:docMk/>
          <pc:sldMk cId="952964549" sldId="587"/>
        </pc:sldMkLst>
        <pc:spChg chg="mod">
          <ac:chgData name="Thomas Stensitzki" userId="75cafe6b-2f2a-469b-85c4-eec3b9c972ba" providerId="ADAL" clId="{732483C3-CB0C-4598-9DB1-778FE3877DE7}" dt="2022-02-14T08:47:57.443" v="1113"/>
          <ac:spMkLst>
            <pc:docMk/>
            <pc:sldMk cId="952964549" sldId="587"/>
            <ac:spMk id="2" creationId="{0BA423E4-B806-433B-B319-3501C2828674}"/>
          </ac:spMkLst>
        </pc:spChg>
        <pc:spChg chg="mod">
          <ac:chgData name="Thomas Stensitzki" userId="75cafe6b-2f2a-469b-85c4-eec3b9c972ba" providerId="ADAL" clId="{732483C3-CB0C-4598-9DB1-778FE3877DE7}" dt="2022-02-14T08:50:33.820" v="1202" actId="113"/>
          <ac:spMkLst>
            <pc:docMk/>
            <pc:sldMk cId="952964549" sldId="587"/>
            <ac:spMk id="3" creationId="{892C9CFD-0555-461F-815C-7E869A6C691E}"/>
          </ac:spMkLst>
        </pc:spChg>
      </pc:sldChg>
      <pc:sldChg chg="del">
        <pc:chgData name="Thomas Stensitzki" userId="75cafe6b-2f2a-469b-85c4-eec3b9c972ba" providerId="ADAL" clId="{732483C3-CB0C-4598-9DB1-778FE3877DE7}" dt="2022-02-13T12:29:09.990" v="73" actId="47"/>
        <pc:sldMkLst>
          <pc:docMk/>
          <pc:sldMk cId="3386111181" sldId="587"/>
        </pc:sldMkLst>
      </pc:sldChg>
      <pc:sldChg chg="del">
        <pc:chgData name="Thomas Stensitzki" userId="75cafe6b-2f2a-469b-85c4-eec3b9c972ba" providerId="ADAL" clId="{732483C3-CB0C-4598-9DB1-778FE3877DE7}" dt="2022-02-13T12:29:09.990" v="73" actId="47"/>
        <pc:sldMkLst>
          <pc:docMk/>
          <pc:sldMk cId="3088514375" sldId="588"/>
        </pc:sldMkLst>
      </pc:sldChg>
      <pc:sldChg chg="addSp delSp modSp new add del mod modTransition">
        <pc:chgData name="Thomas Stensitzki" userId="75cafe6b-2f2a-469b-85c4-eec3b9c972ba" providerId="ADAL" clId="{732483C3-CB0C-4598-9DB1-778FE3877DE7}" dt="2022-02-16T13:35:41.009" v="1677"/>
        <pc:sldMkLst>
          <pc:docMk/>
          <pc:sldMk cId="3831261343" sldId="588"/>
        </pc:sldMkLst>
        <pc:spChg chg="mod">
          <ac:chgData name="Thomas Stensitzki" userId="75cafe6b-2f2a-469b-85c4-eec3b9c972ba" providerId="ADAL" clId="{732483C3-CB0C-4598-9DB1-778FE3877DE7}" dt="2022-02-14T08:52:01.971" v="1206"/>
          <ac:spMkLst>
            <pc:docMk/>
            <pc:sldMk cId="3831261343" sldId="588"/>
            <ac:spMk id="2" creationId="{AFA186E7-342C-499B-8453-9DD1AB1CA7F2}"/>
          </ac:spMkLst>
        </pc:spChg>
        <pc:spChg chg="del">
          <ac:chgData name="Thomas Stensitzki" userId="75cafe6b-2f2a-469b-85c4-eec3b9c972ba" providerId="ADAL" clId="{732483C3-CB0C-4598-9DB1-778FE3877DE7}" dt="2022-02-14T08:52:45.479" v="1209" actId="478"/>
          <ac:spMkLst>
            <pc:docMk/>
            <pc:sldMk cId="3831261343" sldId="588"/>
            <ac:spMk id="3" creationId="{7CD1371E-9B9E-43E9-8A5C-BF619989D07A}"/>
          </ac:spMkLst>
        </pc:spChg>
        <pc:picChg chg="add mod">
          <ac:chgData name="Thomas Stensitzki" userId="75cafe6b-2f2a-469b-85c4-eec3b9c972ba" providerId="ADAL" clId="{732483C3-CB0C-4598-9DB1-778FE3877DE7}" dt="2022-02-14T08:53:04.155" v="1213" actId="1440"/>
          <ac:picMkLst>
            <pc:docMk/>
            <pc:sldMk cId="3831261343" sldId="588"/>
            <ac:picMk id="4098" creationId="{A56F61E1-0F52-421E-822A-077CF6137CD6}"/>
          </ac:picMkLst>
        </pc:picChg>
      </pc:sldChg>
      <pc:sldChg chg="del">
        <pc:chgData name="Thomas Stensitzki" userId="75cafe6b-2f2a-469b-85c4-eec3b9c972ba" providerId="ADAL" clId="{732483C3-CB0C-4598-9DB1-778FE3877DE7}" dt="2022-02-13T12:29:09.990" v="73" actId="47"/>
        <pc:sldMkLst>
          <pc:docMk/>
          <pc:sldMk cId="1790374027" sldId="589"/>
        </pc:sldMkLst>
      </pc:sldChg>
      <pc:sldChg chg="addSp delSp modSp add modTransition">
        <pc:chgData name="Thomas Stensitzki" userId="75cafe6b-2f2a-469b-85c4-eec3b9c972ba" providerId="ADAL" clId="{732483C3-CB0C-4598-9DB1-778FE3877DE7}" dt="2022-02-16T13:35:41.009" v="1677"/>
        <pc:sldMkLst>
          <pc:docMk/>
          <pc:sldMk cId="3795303455" sldId="589"/>
        </pc:sldMkLst>
        <pc:picChg chg="del">
          <ac:chgData name="Thomas Stensitzki" userId="75cafe6b-2f2a-469b-85c4-eec3b9c972ba" providerId="ADAL" clId="{732483C3-CB0C-4598-9DB1-778FE3877DE7}" dt="2022-02-14T08:53:49.819" v="1221" actId="478"/>
          <ac:picMkLst>
            <pc:docMk/>
            <pc:sldMk cId="3795303455" sldId="589"/>
            <ac:picMk id="4098" creationId="{A56F61E1-0F52-421E-822A-077CF6137CD6}"/>
          </ac:picMkLst>
        </pc:picChg>
        <pc:picChg chg="add mod">
          <ac:chgData name="Thomas Stensitzki" userId="75cafe6b-2f2a-469b-85c4-eec3b9c972ba" providerId="ADAL" clId="{732483C3-CB0C-4598-9DB1-778FE3877DE7}" dt="2022-02-14T08:53:48.198" v="1220" actId="167"/>
          <ac:picMkLst>
            <pc:docMk/>
            <pc:sldMk cId="3795303455" sldId="589"/>
            <ac:picMk id="5122" creationId="{02D9EB72-CBDA-4744-ADBB-77E709AAC7CB}"/>
          </ac:picMkLst>
        </pc:picChg>
      </pc:sldChg>
      <pc:sldChg chg="del">
        <pc:chgData name="Thomas Stensitzki" userId="75cafe6b-2f2a-469b-85c4-eec3b9c972ba" providerId="ADAL" clId="{732483C3-CB0C-4598-9DB1-778FE3877DE7}" dt="2022-02-13T12:29:09.990" v="73" actId="47"/>
        <pc:sldMkLst>
          <pc:docMk/>
          <pc:sldMk cId="918908708" sldId="590"/>
        </pc:sldMkLst>
      </pc:sldChg>
      <pc:sldChg chg="addSp delSp modSp add modTransition modNotesTx">
        <pc:chgData name="Thomas Stensitzki" userId="75cafe6b-2f2a-469b-85c4-eec3b9c972ba" providerId="ADAL" clId="{732483C3-CB0C-4598-9DB1-778FE3877DE7}" dt="2022-02-16T13:35:41.009" v="1677"/>
        <pc:sldMkLst>
          <pc:docMk/>
          <pc:sldMk cId="3073320387" sldId="590"/>
        </pc:sldMkLst>
        <pc:picChg chg="add del">
          <ac:chgData name="Thomas Stensitzki" userId="75cafe6b-2f2a-469b-85c4-eec3b9c972ba" providerId="ADAL" clId="{732483C3-CB0C-4598-9DB1-778FE3877DE7}" dt="2022-02-14T08:54:42.380" v="1234" actId="478"/>
          <ac:picMkLst>
            <pc:docMk/>
            <pc:sldMk cId="3073320387" sldId="590"/>
            <ac:picMk id="5122" creationId="{02D9EB72-CBDA-4744-ADBB-77E709AAC7CB}"/>
          </ac:picMkLst>
        </pc:picChg>
        <pc:picChg chg="add del mod">
          <ac:chgData name="Thomas Stensitzki" userId="75cafe6b-2f2a-469b-85c4-eec3b9c972ba" providerId="ADAL" clId="{732483C3-CB0C-4598-9DB1-778FE3877DE7}" dt="2022-02-14T08:54:38.423" v="1233" actId="478"/>
          <ac:picMkLst>
            <pc:docMk/>
            <pc:sldMk cId="3073320387" sldId="590"/>
            <ac:picMk id="6146" creationId="{7DA09ABE-1DAB-4892-98B2-DA9E7FCC8947}"/>
          </ac:picMkLst>
        </pc:picChg>
      </pc:sldChg>
      <pc:sldChg chg="del">
        <pc:chgData name="Thomas Stensitzki" userId="75cafe6b-2f2a-469b-85c4-eec3b9c972ba" providerId="ADAL" clId="{732483C3-CB0C-4598-9DB1-778FE3877DE7}" dt="2022-02-13T12:29:09.990" v="73" actId="47"/>
        <pc:sldMkLst>
          <pc:docMk/>
          <pc:sldMk cId="454032179" sldId="591"/>
        </pc:sldMkLst>
      </pc:sldChg>
      <pc:sldChg chg="modSp add mod ord modTransition">
        <pc:chgData name="Thomas Stensitzki" userId="75cafe6b-2f2a-469b-85c4-eec3b9c972ba" providerId="ADAL" clId="{732483C3-CB0C-4598-9DB1-778FE3877DE7}" dt="2022-02-16T13:35:41.009" v="1677"/>
        <pc:sldMkLst>
          <pc:docMk/>
          <pc:sldMk cId="3676688735" sldId="591"/>
        </pc:sldMkLst>
        <pc:spChg chg="mod">
          <ac:chgData name="Thomas Stensitzki" userId="75cafe6b-2f2a-469b-85c4-eec3b9c972ba" providerId="ADAL" clId="{732483C3-CB0C-4598-9DB1-778FE3877DE7}" dt="2022-02-14T11:34:35.895" v="1298" actId="1036"/>
          <ac:spMkLst>
            <pc:docMk/>
            <pc:sldMk cId="3676688735" sldId="591"/>
            <ac:spMk id="2" creationId="{909DC09D-B9A6-4493-9A72-1CA7ECB1F5CA}"/>
          </ac:spMkLst>
        </pc:spChg>
      </pc:sldChg>
      <pc:sldChg chg="del">
        <pc:chgData name="Thomas Stensitzki" userId="75cafe6b-2f2a-469b-85c4-eec3b9c972ba" providerId="ADAL" clId="{732483C3-CB0C-4598-9DB1-778FE3877DE7}" dt="2022-02-13T12:29:09.990" v="73" actId="47"/>
        <pc:sldMkLst>
          <pc:docMk/>
          <pc:sldMk cId="999287501" sldId="592"/>
        </pc:sldMkLst>
      </pc:sldChg>
      <pc:sldChg chg="modSp add mod ord modTransition">
        <pc:chgData name="Thomas Stensitzki" userId="75cafe6b-2f2a-469b-85c4-eec3b9c972ba" providerId="ADAL" clId="{732483C3-CB0C-4598-9DB1-778FE3877DE7}" dt="2022-02-16T13:35:41.009" v="1677"/>
        <pc:sldMkLst>
          <pc:docMk/>
          <pc:sldMk cId="3760764139" sldId="592"/>
        </pc:sldMkLst>
        <pc:spChg chg="mod">
          <ac:chgData name="Thomas Stensitzki" userId="75cafe6b-2f2a-469b-85c4-eec3b9c972ba" providerId="ADAL" clId="{732483C3-CB0C-4598-9DB1-778FE3877DE7}" dt="2022-02-14T11:34:50.597" v="1329" actId="1036"/>
          <ac:spMkLst>
            <pc:docMk/>
            <pc:sldMk cId="3760764139" sldId="592"/>
            <ac:spMk id="2" creationId="{909DC09D-B9A6-4493-9A72-1CA7ECB1F5CA}"/>
          </ac:spMkLst>
        </pc:spChg>
      </pc:sldChg>
      <pc:sldChg chg="del">
        <pc:chgData name="Thomas Stensitzki" userId="75cafe6b-2f2a-469b-85c4-eec3b9c972ba" providerId="ADAL" clId="{732483C3-CB0C-4598-9DB1-778FE3877DE7}" dt="2022-02-13T12:29:09.990" v="73" actId="47"/>
        <pc:sldMkLst>
          <pc:docMk/>
          <pc:sldMk cId="216933282" sldId="593"/>
        </pc:sldMkLst>
      </pc:sldChg>
      <pc:sldChg chg="modSp add mod modTransition">
        <pc:chgData name="Thomas Stensitzki" userId="75cafe6b-2f2a-469b-85c4-eec3b9c972ba" providerId="ADAL" clId="{732483C3-CB0C-4598-9DB1-778FE3877DE7}" dt="2022-02-16T13:35:41.009" v="1677"/>
        <pc:sldMkLst>
          <pc:docMk/>
          <pc:sldMk cId="1160737551" sldId="593"/>
        </pc:sldMkLst>
        <pc:spChg chg="mod">
          <ac:chgData name="Thomas Stensitzki" userId="75cafe6b-2f2a-469b-85c4-eec3b9c972ba" providerId="ADAL" clId="{732483C3-CB0C-4598-9DB1-778FE3877DE7}" dt="2022-02-14T11:35:06.916" v="1387" actId="1036"/>
          <ac:spMkLst>
            <pc:docMk/>
            <pc:sldMk cId="1160737551" sldId="593"/>
            <ac:spMk id="2" creationId="{909DC09D-B9A6-4493-9A72-1CA7ECB1F5CA}"/>
          </ac:spMkLst>
        </pc:spChg>
      </pc:sldChg>
      <pc:sldChg chg="del">
        <pc:chgData name="Thomas Stensitzki" userId="75cafe6b-2f2a-469b-85c4-eec3b9c972ba" providerId="ADAL" clId="{732483C3-CB0C-4598-9DB1-778FE3877DE7}" dt="2022-02-13T12:29:09.990" v="73" actId="47"/>
        <pc:sldMkLst>
          <pc:docMk/>
          <pc:sldMk cId="1858708233" sldId="594"/>
        </pc:sldMkLst>
      </pc:sldChg>
      <pc:sldChg chg="modSp add mod ord modTransition">
        <pc:chgData name="Thomas Stensitzki" userId="75cafe6b-2f2a-469b-85c4-eec3b9c972ba" providerId="ADAL" clId="{732483C3-CB0C-4598-9DB1-778FE3877DE7}" dt="2022-02-16T13:35:41.009" v="1677"/>
        <pc:sldMkLst>
          <pc:docMk/>
          <pc:sldMk cId="3620025916" sldId="594"/>
        </pc:sldMkLst>
        <pc:spChg chg="mod">
          <ac:chgData name="Thomas Stensitzki" userId="75cafe6b-2f2a-469b-85c4-eec3b9c972ba" providerId="ADAL" clId="{732483C3-CB0C-4598-9DB1-778FE3877DE7}" dt="2022-02-14T11:35:50.809" v="1434" actId="14100"/>
          <ac:spMkLst>
            <pc:docMk/>
            <pc:sldMk cId="3620025916" sldId="594"/>
            <ac:spMk id="2" creationId="{909DC09D-B9A6-4493-9A72-1CA7ECB1F5CA}"/>
          </ac:spMkLst>
        </pc:spChg>
      </pc:sldChg>
      <pc:sldChg chg="modSp add mod ord modTransition">
        <pc:chgData name="Thomas Stensitzki" userId="75cafe6b-2f2a-469b-85c4-eec3b9c972ba" providerId="ADAL" clId="{732483C3-CB0C-4598-9DB1-778FE3877DE7}" dt="2022-02-16T13:35:41.009" v="1677"/>
        <pc:sldMkLst>
          <pc:docMk/>
          <pc:sldMk cId="2243482533" sldId="595"/>
        </pc:sldMkLst>
        <pc:spChg chg="mod">
          <ac:chgData name="Thomas Stensitzki" userId="75cafe6b-2f2a-469b-85c4-eec3b9c972ba" providerId="ADAL" clId="{732483C3-CB0C-4598-9DB1-778FE3877DE7}" dt="2022-02-14T11:36:22.623" v="1511" actId="1035"/>
          <ac:spMkLst>
            <pc:docMk/>
            <pc:sldMk cId="2243482533" sldId="595"/>
            <ac:spMk id="2" creationId="{909DC09D-B9A6-4493-9A72-1CA7ECB1F5CA}"/>
          </ac:spMkLst>
        </pc:spChg>
      </pc:sldChg>
      <pc:sldChg chg="del">
        <pc:chgData name="Thomas Stensitzki" userId="75cafe6b-2f2a-469b-85c4-eec3b9c972ba" providerId="ADAL" clId="{732483C3-CB0C-4598-9DB1-778FE3877DE7}" dt="2022-02-13T12:29:09.990" v="73" actId="47"/>
        <pc:sldMkLst>
          <pc:docMk/>
          <pc:sldMk cId="3220276594" sldId="595"/>
        </pc:sldMkLst>
      </pc:sldChg>
      <pc:sldChg chg="del">
        <pc:chgData name="Thomas Stensitzki" userId="75cafe6b-2f2a-469b-85c4-eec3b9c972ba" providerId="ADAL" clId="{732483C3-CB0C-4598-9DB1-778FE3877DE7}" dt="2022-02-13T12:29:09.990" v="73" actId="47"/>
        <pc:sldMkLst>
          <pc:docMk/>
          <pc:sldMk cId="1052203246" sldId="596"/>
        </pc:sldMkLst>
      </pc:sldChg>
      <pc:sldChg chg="add del">
        <pc:chgData name="Thomas Stensitzki" userId="75cafe6b-2f2a-469b-85c4-eec3b9c972ba" providerId="ADAL" clId="{732483C3-CB0C-4598-9DB1-778FE3877DE7}" dt="2022-02-14T11:36:33.085" v="1513"/>
        <pc:sldMkLst>
          <pc:docMk/>
          <pc:sldMk cId="1369410492" sldId="596"/>
        </pc:sldMkLst>
      </pc:sldChg>
      <pc:sldChg chg="modSp add mod modTransition">
        <pc:chgData name="Thomas Stensitzki" userId="75cafe6b-2f2a-469b-85c4-eec3b9c972ba" providerId="ADAL" clId="{732483C3-CB0C-4598-9DB1-778FE3877DE7}" dt="2022-02-16T13:35:41.009" v="1677"/>
        <pc:sldMkLst>
          <pc:docMk/>
          <pc:sldMk cId="3273231213" sldId="596"/>
        </pc:sldMkLst>
        <pc:spChg chg="mod">
          <ac:chgData name="Thomas Stensitzki" userId="75cafe6b-2f2a-469b-85c4-eec3b9c972ba" providerId="ADAL" clId="{732483C3-CB0C-4598-9DB1-778FE3877DE7}" dt="2022-02-14T11:36:49.142" v="1557" actId="1035"/>
          <ac:spMkLst>
            <pc:docMk/>
            <pc:sldMk cId="3273231213" sldId="596"/>
            <ac:spMk id="2" creationId="{909DC09D-B9A6-4493-9A72-1CA7ECB1F5CA}"/>
          </ac:spMkLst>
        </pc:spChg>
      </pc:sldChg>
      <pc:sldChg chg="del">
        <pc:chgData name="Thomas Stensitzki" userId="75cafe6b-2f2a-469b-85c4-eec3b9c972ba" providerId="ADAL" clId="{732483C3-CB0C-4598-9DB1-778FE3877DE7}" dt="2022-02-13T12:29:09.990" v="73" actId="47"/>
        <pc:sldMkLst>
          <pc:docMk/>
          <pc:sldMk cId="3073976506" sldId="597"/>
        </pc:sldMkLst>
      </pc:sldChg>
      <pc:sldChg chg="modSp add mod modTransition">
        <pc:chgData name="Thomas Stensitzki" userId="75cafe6b-2f2a-469b-85c4-eec3b9c972ba" providerId="ADAL" clId="{732483C3-CB0C-4598-9DB1-778FE3877DE7}" dt="2022-02-16T13:35:41.009" v="1677"/>
        <pc:sldMkLst>
          <pc:docMk/>
          <pc:sldMk cId="3646966063" sldId="597"/>
        </pc:sldMkLst>
        <pc:spChg chg="mod">
          <ac:chgData name="Thomas Stensitzki" userId="75cafe6b-2f2a-469b-85c4-eec3b9c972ba" providerId="ADAL" clId="{732483C3-CB0C-4598-9DB1-778FE3877DE7}" dt="2022-02-14T11:37:06.350" v="1587" actId="1036"/>
          <ac:spMkLst>
            <pc:docMk/>
            <pc:sldMk cId="3646966063" sldId="597"/>
            <ac:spMk id="2" creationId="{909DC09D-B9A6-4493-9A72-1CA7ECB1F5CA}"/>
          </ac:spMkLst>
        </pc:spChg>
      </pc:sldChg>
      <pc:sldChg chg="del">
        <pc:chgData name="Thomas Stensitzki" userId="75cafe6b-2f2a-469b-85c4-eec3b9c972ba" providerId="ADAL" clId="{732483C3-CB0C-4598-9DB1-778FE3877DE7}" dt="2022-02-13T12:29:17.530" v="74" actId="47"/>
        <pc:sldMkLst>
          <pc:docMk/>
          <pc:sldMk cId="1359738840" sldId="598"/>
        </pc:sldMkLst>
      </pc:sldChg>
      <pc:sldChg chg="modSp add mod ord modTransition">
        <pc:chgData name="Thomas Stensitzki" userId="75cafe6b-2f2a-469b-85c4-eec3b9c972ba" providerId="ADAL" clId="{732483C3-CB0C-4598-9DB1-778FE3877DE7}" dt="2022-02-16T13:35:41.009" v="1677"/>
        <pc:sldMkLst>
          <pc:docMk/>
          <pc:sldMk cId="2538300061" sldId="598"/>
        </pc:sldMkLst>
        <pc:spChg chg="mod">
          <ac:chgData name="Thomas Stensitzki" userId="75cafe6b-2f2a-469b-85c4-eec3b9c972ba" providerId="ADAL" clId="{732483C3-CB0C-4598-9DB1-778FE3877DE7}" dt="2022-02-14T11:37:21.695" v="1596" actId="1035"/>
          <ac:spMkLst>
            <pc:docMk/>
            <pc:sldMk cId="2538300061" sldId="598"/>
            <ac:spMk id="2" creationId="{909DC09D-B9A6-4493-9A72-1CA7ECB1F5CA}"/>
          </ac:spMkLst>
        </pc:spChg>
      </pc:sldChg>
      <pc:sldChg chg="del">
        <pc:chgData name="Thomas Stensitzki" userId="75cafe6b-2f2a-469b-85c4-eec3b9c972ba" providerId="ADAL" clId="{732483C3-CB0C-4598-9DB1-778FE3877DE7}" dt="2022-02-13T12:29:17.530" v="74" actId="47"/>
        <pc:sldMkLst>
          <pc:docMk/>
          <pc:sldMk cId="497042959" sldId="599"/>
        </pc:sldMkLst>
      </pc:sldChg>
      <pc:sldChg chg="modSp add mod ord">
        <pc:chgData name="Thomas Stensitzki" userId="75cafe6b-2f2a-469b-85c4-eec3b9c972ba" providerId="ADAL" clId="{732483C3-CB0C-4598-9DB1-778FE3877DE7}" dt="2022-02-16T13:43:10.358" v="1825" actId="1076"/>
        <pc:sldMkLst>
          <pc:docMk/>
          <pc:sldMk cId="2905309205" sldId="599"/>
        </pc:sldMkLst>
        <pc:spChg chg="mod">
          <ac:chgData name="Thomas Stensitzki" userId="75cafe6b-2f2a-469b-85c4-eec3b9c972ba" providerId="ADAL" clId="{732483C3-CB0C-4598-9DB1-778FE3877DE7}" dt="2022-02-16T13:43:10.358" v="1825" actId="1076"/>
          <ac:spMkLst>
            <pc:docMk/>
            <pc:sldMk cId="2905309205" sldId="599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732483C3-CB0C-4598-9DB1-778FE3877DE7}" dt="2022-02-16T13:45:36.823" v="1833" actId="1076"/>
        <pc:sldMkLst>
          <pc:docMk/>
          <pc:sldMk cId="2549681173" sldId="600"/>
        </pc:sldMkLst>
        <pc:spChg chg="mod">
          <ac:chgData name="Thomas Stensitzki" userId="75cafe6b-2f2a-469b-85c4-eec3b9c972ba" providerId="ADAL" clId="{732483C3-CB0C-4598-9DB1-778FE3877DE7}" dt="2022-02-16T13:45:36.823" v="1833" actId="1076"/>
          <ac:spMkLst>
            <pc:docMk/>
            <pc:sldMk cId="2549681173" sldId="600"/>
            <ac:spMk id="2" creationId="{909DC09D-B9A6-4493-9A72-1CA7ECB1F5CA}"/>
          </ac:spMkLst>
        </pc:spChg>
      </pc:sldChg>
      <pc:sldChg chg="add del">
        <pc:chgData name="Thomas Stensitzki" userId="75cafe6b-2f2a-469b-85c4-eec3b9c972ba" providerId="ADAL" clId="{732483C3-CB0C-4598-9DB1-778FE3877DE7}" dt="2022-02-13T12:29:48.194" v="77" actId="47"/>
        <pc:sldMkLst>
          <pc:docMk/>
          <pc:sldMk cId="3647128677" sldId="600"/>
        </pc:sldMkLst>
      </pc:sldChg>
      <pc:sldChg chg="delSp modSp add">
        <pc:chgData name="Thomas Stensitzki" userId="75cafe6b-2f2a-469b-85c4-eec3b9c972ba" providerId="ADAL" clId="{732483C3-CB0C-4598-9DB1-778FE3877DE7}" dt="2022-02-16T13:46:44.696" v="1839" actId="1076"/>
        <pc:sldMkLst>
          <pc:docMk/>
          <pc:sldMk cId="1353242244" sldId="601"/>
        </pc:sldMkLst>
        <pc:picChg chg="del">
          <ac:chgData name="Thomas Stensitzki" userId="75cafe6b-2f2a-469b-85c4-eec3b9c972ba" providerId="ADAL" clId="{732483C3-CB0C-4598-9DB1-778FE3877DE7}" dt="2022-02-16T13:46:33.100" v="1838" actId="478"/>
          <ac:picMkLst>
            <pc:docMk/>
            <pc:sldMk cId="1353242244" sldId="601"/>
            <ac:picMk id="8194" creationId="{AFD980FE-4282-4263-AD1E-4D6DAC9F98E5}"/>
          </ac:picMkLst>
        </pc:picChg>
        <pc:picChg chg="mod">
          <ac:chgData name="Thomas Stensitzki" userId="75cafe6b-2f2a-469b-85c4-eec3b9c972ba" providerId="ADAL" clId="{732483C3-CB0C-4598-9DB1-778FE3877DE7}" dt="2022-02-16T13:46:44.696" v="1839" actId="1076"/>
          <ac:picMkLst>
            <pc:docMk/>
            <pc:sldMk cId="1353242244" sldId="601"/>
            <ac:picMk id="8196" creationId="{1A602696-D323-49FA-84C8-07E65F6E0E5C}"/>
          </ac:picMkLst>
        </pc:picChg>
      </pc:sldChg>
      <pc:sldChg chg="add del">
        <pc:chgData name="Thomas Stensitzki" userId="75cafe6b-2f2a-469b-85c4-eec3b9c972ba" providerId="ADAL" clId="{732483C3-CB0C-4598-9DB1-778FE3877DE7}" dt="2022-02-13T12:29:48.194" v="77" actId="47"/>
        <pc:sldMkLst>
          <pc:docMk/>
          <pc:sldMk cId="2742369230" sldId="601"/>
        </pc:sldMkLst>
      </pc:sldChg>
      <pc:sldChg chg="add del">
        <pc:chgData name="Thomas Stensitzki" userId="75cafe6b-2f2a-469b-85c4-eec3b9c972ba" providerId="ADAL" clId="{732483C3-CB0C-4598-9DB1-778FE3877DE7}" dt="2022-02-13T12:29:48.194" v="77" actId="47"/>
        <pc:sldMkLst>
          <pc:docMk/>
          <pc:sldMk cId="525318874" sldId="602"/>
        </pc:sldMkLst>
      </pc:sldChg>
      <pc:sldChg chg="modSp add mod ord">
        <pc:chgData name="Thomas Stensitzki" userId="75cafe6b-2f2a-469b-85c4-eec3b9c972ba" providerId="ADAL" clId="{732483C3-CB0C-4598-9DB1-778FE3877DE7}" dt="2022-02-16T13:47:16.871" v="1843" actId="1076"/>
        <pc:sldMkLst>
          <pc:docMk/>
          <pc:sldMk cId="1032519195" sldId="602"/>
        </pc:sldMkLst>
        <pc:spChg chg="mod">
          <ac:chgData name="Thomas Stensitzki" userId="75cafe6b-2f2a-469b-85c4-eec3b9c972ba" providerId="ADAL" clId="{732483C3-CB0C-4598-9DB1-778FE3877DE7}" dt="2022-02-16T13:47:16.871" v="1843" actId="1076"/>
          <ac:spMkLst>
            <pc:docMk/>
            <pc:sldMk cId="1032519195" sldId="602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732483C3-CB0C-4598-9DB1-778FE3877DE7}" dt="2022-02-16T13:47:31.127" v="1847" actId="1076"/>
        <pc:sldMkLst>
          <pc:docMk/>
          <pc:sldMk cId="167954962" sldId="603"/>
        </pc:sldMkLst>
        <pc:spChg chg="mod">
          <ac:chgData name="Thomas Stensitzki" userId="75cafe6b-2f2a-469b-85c4-eec3b9c972ba" providerId="ADAL" clId="{732483C3-CB0C-4598-9DB1-778FE3877DE7}" dt="2022-02-16T13:47:31.127" v="1847" actId="1076"/>
          <ac:spMkLst>
            <pc:docMk/>
            <pc:sldMk cId="167954962" sldId="603"/>
            <ac:spMk id="2" creationId="{909DC09D-B9A6-4493-9A72-1CA7ECB1F5CA}"/>
          </ac:spMkLst>
        </pc:spChg>
      </pc:sldChg>
      <pc:sldChg chg="add del">
        <pc:chgData name="Thomas Stensitzki" userId="75cafe6b-2f2a-469b-85c4-eec3b9c972ba" providerId="ADAL" clId="{732483C3-CB0C-4598-9DB1-778FE3877DE7}" dt="2022-02-13T12:29:48.194" v="77" actId="47"/>
        <pc:sldMkLst>
          <pc:docMk/>
          <pc:sldMk cId="4145302730" sldId="603"/>
        </pc:sldMkLst>
      </pc:sldChg>
      <pc:sldChg chg="add del">
        <pc:chgData name="Thomas Stensitzki" userId="75cafe6b-2f2a-469b-85c4-eec3b9c972ba" providerId="ADAL" clId="{732483C3-CB0C-4598-9DB1-778FE3877DE7}" dt="2022-02-13T12:29:48.194" v="77" actId="47"/>
        <pc:sldMkLst>
          <pc:docMk/>
          <pc:sldMk cId="166632333" sldId="604"/>
        </pc:sldMkLst>
      </pc:sldChg>
      <pc:sldChg chg="modSp add mod ord modNotesTx">
        <pc:chgData name="Thomas Stensitzki" userId="75cafe6b-2f2a-469b-85c4-eec3b9c972ba" providerId="ADAL" clId="{732483C3-CB0C-4598-9DB1-778FE3877DE7}" dt="2022-02-16T13:52:44.405" v="1894" actId="6549"/>
        <pc:sldMkLst>
          <pc:docMk/>
          <pc:sldMk cId="1319860976" sldId="604"/>
        </pc:sldMkLst>
        <pc:spChg chg="mod">
          <ac:chgData name="Thomas Stensitzki" userId="75cafe6b-2f2a-469b-85c4-eec3b9c972ba" providerId="ADAL" clId="{732483C3-CB0C-4598-9DB1-778FE3877DE7}" dt="2022-02-16T13:49:21.649" v="1861" actId="1076"/>
          <ac:spMkLst>
            <pc:docMk/>
            <pc:sldMk cId="1319860976" sldId="604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732483C3-CB0C-4598-9DB1-778FE3877DE7}" dt="2022-02-16T13:49:39.605" v="1865" actId="1076"/>
        <pc:sldMkLst>
          <pc:docMk/>
          <pc:sldMk cId="960196194" sldId="605"/>
        </pc:sldMkLst>
        <pc:spChg chg="mod">
          <ac:chgData name="Thomas Stensitzki" userId="75cafe6b-2f2a-469b-85c4-eec3b9c972ba" providerId="ADAL" clId="{732483C3-CB0C-4598-9DB1-778FE3877DE7}" dt="2022-02-16T13:49:39.605" v="1865" actId="1076"/>
          <ac:spMkLst>
            <pc:docMk/>
            <pc:sldMk cId="960196194" sldId="605"/>
            <ac:spMk id="2" creationId="{909DC09D-B9A6-4493-9A72-1CA7ECB1F5CA}"/>
          </ac:spMkLst>
        </pc:spChg>
      </pc:sldChg>
      <pc:sldChg chg="add del">
        <pc:chgData name="Thomas Stensitzki" userId="75cafe6b-2f2a-469b-85c4-eec3b9c972ba" providerId="ADAL" clId="{732483C3-CB0C-4598-9DB1-778FE3877DE7}" dt="2022-02-13T12:29:48.194" v="77" actId="47"/>
        <pc:sldMkLst>
          <pc:docMk/>
          <pc:sldMk cId="2150546359" sldId="605"/>
        </pc:sldMkLst>
      </pc:sldChg>
      <pc:sldChg chg="add del">
        <pc:chgData name="Thomas Stensitzki" userId="75cafe6b-2f2a-469b-85c4-eec3b9c972ba" providerId="ADAL" clId="{732483C3-CB0C-4598-9DB1-778FE3877DE7}" dt="2022-02-13T12:29:48.194" v="77" actId="47"/>
        <pc:sldMkLst>
          <pc:docMk/>
          <pc:sldMk cId="2386028982" sldId="606"/>
        </pc:sldMkLst>
      </pc:sldChg>
      <pc:sldChg chg="modSp add mod modNotesTx">
        <pc:chgData name="Thomas Stensitzki" userId="75cafe6b-2f2a-469b-85c4-eec3b9c972ba" providerId="ADAL" clId="{732483C3-CB0C-4598-9DB1-778FE3877DE7}" dt="2022-02-16T13:52:37.340" v="1893" actId="6549"/>
        <pc:sldMkLst>
          <pc:docMk/>
          <pc:sldMk cId="2615993417" sldId="606"/>
        </pc:sldMkLst>
        <pc:spChg chg="mod">
          <ac:chgData name="Thomas Stensitzki" userId="75cafe6b-2f2a-469b-85c4-eec3b9c972ba" providerId="ADAL" clId="{732483C3-CB0C-4598-9DB1-778FE3877DE7}" dt="2022-02-16T13:49:48.290" v="1867" actId="1076"/>
          <ac:spMkLst>
            <pc:docMk/>
            <pc:sldMk cId="2615993417" sldId="606"/>
            <ac:spMk id="2" creationId="{909DC09D-B9A6-4493-9A72-1CA7ECB1F5CA}"/>
          </ac:spMkLst>
        </pc:spChg>
      </pc:sldChg>
      <pc:sldChg chg="modSp add mod ord modNotesTx">
        <pc:chgData name="Thomas Stensitzki" userId="75cafe6b-2f2a-469b-85c4-eec3b9c972ba" providerId="ADAL" clId="{732483C3-CB0C-4598-9DB1-778FE3877DE7}" dt="2022-02-16T13:52:30.502" v="1892" actId="6549"/>
        <pc:sldMkLst>
          <pc:docMk/>
          <pc:sldMk cId="850732423" sldId="607"/>
        </pc:sldMkLst>
        <pc:spChg chg="mod">
          <ac:chgData name="Thomas Stensitzki" userId="75cafe6b-2f2a-469b-85c4-eec3b9c972ba" providerId="ADAL" clId="{732483C3-CB0C-4598-9DB1-778FE3877DE7}" dt="2022-02-16T13:50:05.937" v="1872" actId="14100"/>
          <ac:spMkLst>
            <pc:docMk/>
            <pc:sldMk cId="850732423" sldId="607"/>
            <ac:spMk id="2" creationId="{909DC09D-B9A6-4493-9A72-1CA7ECB1F5CA}"/>
          </ac:spMkLst>
        </pc:spChg>
      </pc:sldChg>
      <pc:sldChg chg="add del">
        <pc:chgData name="Thomas Stensitzki" userId="75cafe6b-2f2a-469b-85c4-eec3b9c972ba" providerId="ADAL" clId="{732483C3-CB0C-4598-9DB1-778FE3877DE7}" dt="2022-02-13T12:29:48.194" v="77" actId="47"/>
        <pc:sldMkLst>
          <pc:docMk/>
          <pc:sldMk cId="2597390730" sldId="607"/>
        </pc:sldMkLst>
      </pc:sldChg>
      <pc:sldChg chg="modSp add mod ord modNotesTx">
        <pc:chgData name="Thomas Stensitzki" userId="75cafe6b-2f2a-469b-85c4-eec3b9c972ba" providerId="ADAL" clId="{732483C3-CB0C-4598-9DB1-778FE3877DE7}" dt="2022-02-16T13:52:21.814" v="1890" actId="6549"/>
        <pc:sldMkLst>
          <pc:docMk/>
          <pc:sldMk cId="2141078485" sldId="608"/>
        </pc:sldMkLst>
        <pc:spChg chg="mod">
          <ac:chgData name="Thomas Stensitzki" userId="75cafe6b-2f2a-469b-85c4-eec3b9c972ba" providerId="ADAL" clId="{732483C3-CB0C-4598-9DB1-778FE3877DE7}" dt="2022-02-16T13:50:30.509" v="1878" actId="1076"/>
          <ac:spMkLst>
            <pc:docMk/>
            <pc:sldMk cId="2141078485" sldId="608"/>
            <ac:spMk id="2" creationId="{909DC09D-B9A6-4493-9A72-1CA7ECB1F5CA}"/>
          </ac:spMkLst>
        </pc:spChg>
      </pc:sldChg>
      <pc:sldChg chg="add del ord">
        <pc:chgData name="Thomas Stensitzki" userId="75cafe6b-2f2a-469b-85c4-eec3b9c972ba" providerId="ADAL" clId="{732483C3-CB0C-4598-9DB1-778FE3877DE7}" dt="2022-02-16T13:50:24.012" v="1876" actId="47"/>
        <pc:sldMkLst>
          <pc:docMk/>
          <pc:sldMk cId="3573072322" sldId="608"/>
        </pc:sldMkLst>
      </pc:sldChg>
      <pc:sldChg chg="modSp add mod modNotesTx">
        <pc:chgData name="Thomas Stensitzki" userId="75cafe6b-2f2a-469b-85c4-eec3b9c972ba" providerId="ADAL" clId="{732483C3-CB0C-4598-9DB1-778FE3877DE7}" dt="2022-02-16T13:52:16.543" v="1889" actId="6549"/>
        <pc:sldMkLst>
          <pc:docMk/>
          <pc:sldMk cId="2216310711" sldId="609"/>
        </pc:sldMkLst>
        <pc:spChg chg="mod">
          <ac:chgData name="Thomas Stensitzki" userId="75cafe6b-2f2a-469b-85c4-eec3b9c972ba" providerId="ADAL" clId="{732483C3-CB0C-4598-9DB1-778FE3877DE7}" dt="2022-02-16T13:51:18.467" v="1884" actId="14100"/>
          <ac:spMkLst>
            <pc:docMk/>
            <pc:sldMk cId="2216310711" sldId="609"/>
            <ac:spMk id="2" creationId="{909DC09D-B9A6-4493-9A72-1CA7ECB1F5CA}"/>
          </ac:spMkLst>
        </pc:spChg>
        <pc:spChg chg="mod">
          <ac:chgData name="Thomas Stensitzki" userId="75cafe6b-2f2a-469b-85c4-eec3b9c972ba" providerId="ADAL" clId="{732483C3-CB0C-4598-9DB1-778FE3877DE7}" dt="2022-02-16T13:51:26.012" v="1886" actId="20577"/>
          <ac:spMkLst>
            <pc:docMk/>
            <pc:sldMk cId="2216310711" sldId="609"/>
            <ac:spMk id="5" creationId="{C24DACB5-1BEC-4C86-9652-BAFD8DE56FEF}"/>
          </ac:spMkLst>
        </pc:spChg>
      </pc:sldChg>
      <pc:sldChg chg="modSp add mod">
        <pc:chgData name="Thomas Stensitzki" userId="75cafe6b-2f2a-469b-85c4-eec3b9c972ba" providerId="ADAL" clId="{732483C3-CB0C-4598-9DB1-778FE3877DE7}" dt="2022-02-16T13:53:05.745" v="1897" actId="1076"/>
        <pc:sldMkLst>
          <pc:docMk/>
          <pc:sldMk cId="52005476" sldId="610"/>
        </pc:sldMkLst>
        <pc:spChg chg="mod">
          <ac:chgData name="Thomas Stensitzki" userId="75cafe6b-2f2a-469b-85c4-eec3b9c972ba" providerId="ADAL" clId="{732483C3-CB0C-4598-9DB1-778FE3877DE7}" dt="2022-02-16T13:53:05.745" v="1897" actId="1076"/>
          <ac:spMkLst>
            <pc:docMk/>
            <pc:sldMk cId="52005476" sldId="610"/>
            <ac:spMk id="2" creationId="{909DC09D-B9A6-4493-9A72-1CA7ECB1F5CA}"/>
          </ac:spMkLst>
        </pc:spChg>
      </pc:sldChg>
      <pc:sldChg chg="modSp add mod">
        <pc:chgData name="Thomas Stensitzki" userId="75cafe6b-2f2a-469b-85c4-eec3b9c972ba" providerId="ADAL" clId="{732483C3-CB0C-4598-9DB1-778FE3877DE7}" dt="2022-02-16T13:53:21.334" v="1900" actId="14100"/>
        <pc:sldMkLst>
          <pc:docMk/>
          <pc:sldMk cId="724457052" sldId="611"/>
        </pc:sldMkLst>
        <pc:spChg chg="mod">
          <ac:chgData name="Thomas Stensitzki" userId="75cafe6b-2f2a-469b-85c4-eec3b9c972ba" providerId="ADAL" clId="{732483C3-CB0C-4598-9DB1-778FE3877DE7}" dt="2022-02-16T13:53:21.334" v="1900" actId="14100"/>
          <ac:spMkLst>
            <pc:docMk/>
            <pc:sldMk cId="724457052" sldId="611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732483C3-CB0C-4598-9DB1-778FE3877DE7}" dt="2022-02-16T13:53:40.903" v="1905" actId="14100"/>
        <pc:sldMkLst>
          <pc:docMk/>
          <pc:sldMk cId="1451652416" sldId="612"/>
        </pc:sldMkLst>
        <pc:spChg chg="mod">
          <ac:chgData name="Thomas Stensitzki" userId="75cafe6b-2f2a-469b-85c4-eec3b9c972ba" providerId="ADAL" clId="{732483C3-CB0C-4598-9DB1-778FE3877DE7}" dt="2022-02-16T13:53:40.903" v="1905" actId="14100"/>
          <ac:spMkLst>
            <pc:docMk/>
            <pc:sldMk cId="1451652416" sldId="612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732483C3-CB0C-4598-9DB1-778FE3877DE7}" dt="2022-02-16T13:54:02.279" v="1911" actId="1076"/>
        <pc:sldMkLst>
          <pc:docMk/>
          <pc:sldMk cId="1471743522" sldId="613"/>
        </pc:sldMkLst>
        <pc:spChg chg="mod">
          <ac:chgData name="Thomas Stensitzki" userId="75cafe6b-2f2a-469b-85c4-eec3b9c972ba" providerId="ADAL" clId="{732483C3-CB0C-4598-9DB1-778FE3877DE7}" dt="2022-02-16T13:54:02.279" v="1911" actId="1076"/>
          <ac:spMkLst>
            <pc:docMk/>
            <pc:sldMk cId="1471743522" sldId="613"/>
            <ac:spMk id="2" creationId="{909DC09D-B9A6-4493-9A72-1CA7ECB1F5CA}"/>
          </ac:spMkLst>
        </pc:spChg>
      </pc:sldChg>
    </pc:docChg>
  </pc:docChgLst>
  <pc:docChgLst>
    <pc:chgData name="colschewski@spirit21.com" userId="S::urn:spo:guest#colschewski@spirit21.com::" providerId="AD" clId="Web-{245D9126-0BA1-1582-AA06-BA43866B0985}"/>
    <pc:docChg chg="modSld">
      <pc:chgData name="colschewski@spirit21.com" userId="S::urn:spo:guest#colschewski@spirit21.com::" providerId="AD" clId="Web-{245D9126-0BA1-1582-AA06-BA43866B0985}" dt="2023-05-22T16:28:14.348" v="18" actId="14100"/>
      <pc:docMkLst>
        <pc:docMk/>
      </pc:docMkLst>
      <pc:sldChg chg="addSp delSp modSp">
        <pc:chgData name="colschewski@spirit21.com" userId="S::urn:spo:guest#colschewski@spirit21.com::" providerId="AD" clId="Web-{245D9126-0BA1-1582-AA06-BA43866B0985}" dt="2023-05-22T09:28:15.331" v="16" actId="1076"/>
        <pc:sldMkLst>
          <pc:docMk/>
          <pc:sldMk cId="1545829058" sldId="259"/>
        </pc:sldMkLst>
        <pc:picChg chg="add del mod">
          <ac:chgData name="colschewski@spirit21.com" userId="S::urn:spo:guest#colschewski@spirit21.com::" providerId="AD" clId="Web-{245D9126-0BA1-1582-AA06-BA43866B0985}" dt="2023-05-22T09:26:53.047" v="2"/>
          <ac:picMkLst>
            <pc:docMk/>
            <pc:sldMk cId="1545829058" sldId="259"/>
            <ac:picMk id="3" creationId="{31255597-D9E5-72FB-F601-FCE9A2CB3240}"/>
          </ac:picMkLst>
        </pc:picChg>
        <pc:picChg chg="add mod">
          <ac:chgData name="colschewski@spirit21.com" userId="S::urn:spo:guest#colschewski@spirit21.com::" providerId="AD" clId="Web-{245D9126-0BA1-1582-AA06-BA43866B0985}" dt="2023-05-22T09:28:15.331" v="16" actId="1076"/>
          <ac:picMkLst>
            <pc:docMk/>
            <pc:sldMk cId="1545829058" sldId="259"/>
            <ac:picMk id="4" creationId="{975DA8F4-571A-B180-DCD8-5F4B02C2D3D3}"/>
          </ac:picMkLst>
        </pc:picChg>
      </pc:sldChg>
      <pc:sldChg chg="addSp delSp modSp">
        <pc:chgData name="colschewski@spirit21.com" userId="S::urn:spo:guest#colschewski@spirit21.com::" providerId="AD" clId="Web-{245D9126-0BA1-1582-AA06-BA43866B0985}" dt="2023-05-22T09:27:21.032" v="9"/>
        <pc:sldMkLst>
          <pc:docMk/>
          <pc:sldMk cId="2553020497" sldId="660"/>
        </pc:sldMkLst>
        <pc:picChg chg="add del mod">
          <ac:chgData name="colschewski@spirit21.com" userId="S::urn:spo:guest#colschewski@spirit21.com::" providerId="AD" clId="Web-{245D9126-0BA1-1582-AA06-BA43866B0985}" dt="2023-05-22T09:27:21.032" v="9"/>
          <ac:picMkLst>
            <pc:docMk/>
            <pc:sldMk cId="2553020497" sldId="660"/>
            <ac:picMk id="3" creationId="{FA9042CB-4A0B-1292-E96E-4966FF110A79}"/>
          </ac:picMkLst>
        </pc:picChg>
      </pc:sldChg>
      <pc:sldChg chg="modSp">
        <pc:chgData name="colschewski@spirit21.com" userId="S::urn:spo:guest#colschewski@spirit21.com::" providerId="AD" clId="Web-{245D9126-0BA1-1582-AA06-BA43866B0985}" dt="2023-05-22T16:28:14.348" v="18" actId="14100"/>
        <pc:sldMkLst>
          <pc:docMk/>
          <pc:sldMk cId="3802477703" sldId="667"/>
        </pc:sldMkLst>
        <pc:picChg chg="mod">
          <ac:chgData name="colschewski@spirit21.com" userId="S::urn:spo:guest#colschewski@spirit21.com::" providerId="AD" clId="Web-{245D9126-0BA1-1582-AA06-BA43866B0985}" dt="2023-05-22T16:28:14.348" v="18" actId="14100"/>
          <ac:picMkLst>
            <pc:docMk/>
            <pc:sldMk cId="3802477703" sldId="667"/>
            <ac:picMk id="5" creationId="{59007772-8755-0B09-0B61-A2C5D858E370}"/>
          </ac:picMkLst>
        </pc:picChg>
      </pc:sldChg>
    </pc:docChg>
  </pc:docChgLst>
  <pc:docChgLst>
    <pc:chgData name="Thomas Stensitzki" userId="75cafe6b-2f2a-469b-85c4-eec3b9c972ba" providerId="ADAL" clId="{38265734-310D-45C8-99C3-9326DBD1A9F5}"/>
    <pc:docChg chg="undo custSel addSld delSld modSld modSection">
      <pc:chgData name="Thomas Stensitzki" userId="75cafe6b-2f2a-469b-85c4-eec3b9c972ba" providerId="ADAL" clId="{38265734-310D-45C8-99C3-9326DBD1A9F5}" dt="2023-07-08T10:54:33.915" v="1765" actId="6549"/>
      <pc:docMkLst>
        <pc:docMk/>
      </pc:docMkLst>
      <pc:sldChg chg="modSp mod modTransition">
        <pc:chgData name="Thomas Stensitzki" userId="75cafe6b-2f2a-469b-85c4-eec3b9c972ba" providerId="ADAL" clId="{38265734-310D-45C8-99C3-9326DBD1A9F5}" dt="2023-07-06T09:12:47.870" v="1675"/>
        <pc:sldMkLst>
          <pc:docMk/>
          <pc:sldMk cId="671489701" sldId="256"/>
        </pc:sldMkLst>
        <pc:spChg chg="mod">
          <ac:chgData name="Thomas Stensitzki" userId="75cafe6b-2f2a-469b-85c4-eec3b9c972ba" providerId="ADAL" clId="{38265734-310D-45C8-99C3-9326DBD1A9F5}" dt="2023-07-04T17:08:41.380" v="10" actId="6549"/>
          <ac:spMkLst>
            <pc:docMk/>
            <pc:sldMk cId="671489701" sldId="256"/>
            <ac:spMk id="3" creationId="{CBA95633-B02D-4A15-A8B1-A38E0A70FD27}"/>
          </ac:spMkLst>
        </pc:spChg>
      </pc:sldChg>
      <pc:sldChg chg="modSp mod modTransition">
        <pc:chgData name="Thomas Stensitzki" userId="75cafe6b-2f2a-469b-85c4-eec3b9c972ba" providerId="ADAL" clId="{38265734-310D-45C8-99C3-9326DBD1A9F5}" dt="2023-07-06T09:12:47.870" v="1675"/>
        <pc:sldMkLst>
          <pc:docMk/>
          <pc:sldMk cId="2855324227" sldId="257"/>
        </pc:sldMkLst>
        <pc:graphicFrameChg chg="mod modGraphic">
          <ac:chgData name="Thomas Stensitzki" userId="75cafe6b-2f2a-469b-85c4-eec3b9c972ba" providerId="ADAL" clId="{38265734-310D-45C8-99C3-9326DBD1A9F5}" dt="2023-07-04T17:09:44.498" v="30" actId="6549"/>
          <ac:graphicFrameMkLst>
            <pc:docMk/>
            <pc:sldMk cId="2855324227" sldId="257"/>
            <ac:graphicFrameMk id="6" creationId="{0F955DCC-462D-431D-BBDE-26F10687D590}"/>
          </ac:graphicFrameMkLst>
        </pc:graphicFrameChg>
      </pc:sldChg>
      <pc:sldChg chg="modSp mod modTransition">
        <pc:chgData name="Thomas Stensitzki" userId="75cafe6b-2f2a-469b-85c4-eec3b9c972ba" providerId="ADAL" clId="{38265734-310D-45C8-99C3-9326DBD1A9F5}" dt="2023-07-06T11:47:33.810" v="1762" actId="20577"/>
        <pc:sldMkLst>
          <pc:docMk/>
          <pc:sldMk cId="3332792154" sldId="258"/>
        </pc:sldMkLst>
        <pc:spChg chg="mod">
          <ac:chgData name="Thomas Stensitzki" userId="75cafe6b-2f2a-469b-85c4-eec3b9c972ba" providerId="ADAL" clId="{38265734-310D-45C8-99C3-9326DBD1A9F5}" dt="2023-07-06T11:47:33.810" v="1762" actId="20577"/>
          <ac:spMkLst>
            <pc:docMk/>
            <pc:sldMk cId="3332792154" sldId="258"/>
            <ac:spMk id="3" creationId="{3A5A44EB-7FB9-473A-8ED3-C49DDD2E65AB}"/>
          </ac:spMkLst>
        </pc:spChg>
      </pc:sldChg>
      <pc:sldChg chg="del">
        <pc:chgData name="Thomas Stensitzki" userId="75cafe6b-2f2a-469b-85c4-eec3b9c972ba" providerId="ADAL" clId="{38265734-310D-45C8-99C3-9326DBD1A9F5}" dt="2023-07-04T17:08:46.061" v="11" actId="47"/>
        <pc:sldMkLst>
          <pc:docMk/>
          <pc:sldMk cId="1545829058" sldId="259"/>
        </pc:sldMkLst>
      </pc:sldChg>
      <pc:sldChg chg="modSp mod modTransition">
        <pc:chgData name="Thomas Stensitzki" userId="75cafe6b-2f2a-469b-85c4-eec3b9c972ba" providerId="ADAL" clId="{38265734-310D-45C8-99C3-9326DBD1A9F5}" dt="2023-07-06T09:12:47.870" v="1675"/>
        <pc:sldMkLst>
          <pc:docMk/>
          <pc:sldMk cId="2698998357" sldId="260"/>
        </pc:sldMkLst>
        <pc:spChg chg="mod">
          <ac:chgData name="Thomas Stensitzki" userId="75cafe6b-2f2a-469b-85c4-eec3b9c972ba" providerId="ADAL" clId="{38265734-310D-45C8-99C3-9326DBD1A9F5}" dt="2023-07-04T17:09:58.627" v="33"/>
          <ac:spMkLst>
            <pc:docMk/>
            <pc:sldMk cId="2698998357" sldId="260"/>
            <ac:spMk id="4" creationId="{F3A15CBD-C746-44A3-A4F0-4898CE2F02E6}"/>
          </ac:spMkLst>
        </pc:spChg>
        <pc:spChg chg="mod">
          <ac:chgData name="Thomas Stensitzki" userId="75cafe6b-2f2a-469b-85c4-eec3b9c972ba" providerId="ADAL" clId="{38265734-310D-45C8-99C3-9326DBD1A9F5}" dt="2023-07-04T17:10:01.931" v="34" actId="20577"/>
          <ac:spMkLst>
            <pc:docMk/>
            <pc:sldMk cId="2698998357" sldId="260"/>
            <ac:spMk id="5" creationId="{F3459BE7-1731-4733-A912-12977C68CFD6}"/>
          </ac:spMkLst>
        </pc:spChg>
        <pc:picChg chg="mod">
          <ac:chgData name="Thomas Stensitzki" userId="75cafe6b-2f2a-469b-85c4-eec3b9c972ba" providerId="ADAL" clId="{38265734-310D-45C8-99C3-9326DBD1A9F5}" dt="2023-07-04T17:09:54.605" v="32" actId="1076"/>
          <ac:picMkLst>
            <pc:docMk/>
            <pc:sldMk cId="2698998357" sldId="260"/>
            <ac:picMk id="2" creationId="{2D4F20BA-957A-E4A8-5973-4395A784304B}"/>
          </ac:picMkLst>
        </pc:picChg>
      </pc:sldChg>
      <pc:sldChg chg="modSp mod modTransition">
        <pc:chgData name="Thomas Stensitzki" userId="75cafe6b-2f2a-469b-85c4-eec3b9c972ba" providerId="ADAL" clId="{38265734-310D-45C8-99C3-9326DBD1A9F5}" dt="2023-07-08T10:54:33.915" v="1765" actId="6549"/>
        <pc:sldMkLst>
          <pc:docMk/>
          <pc:sldMk cId="4007670073" sldId="268"/>
        </pc:sldMkLst>
        <pc:spChg chg="mod">
          <ac:chgData name="Thomas Stensitzki" userId="75cafe6b-2f2a-469b-85c4-eec3b9c972ba" providerId="ADAL" clId="{38265734-310D-45C8-99C3-9326DBD1A9F5}" dt="2023-07-08T10:54:33.915" v="1765" actId="6549"/>
          <ac:spMkLst>
            <pc:docMk/>
            <pc:sldMk cId="4007670073" sldId="268"/>
            <ac:spMk id="5" creationId="{F3459BE7-1731-4733-A912-12977C68CFD6}"/>
          </ac:spMkLst>
        </pc:spChg>
      </pc:sldChg>
      <pc:sldChg chg="modTransition">
        <pc:chgData name="Thomas Stensitzki" userId="75cafe6b-2f2a-469b-85c4-eec3b9c972ba" providerId="ADAL" clId="{38265734-310D-45C8-99C3-9326DBD1A9F5}" dt="2023-07-06T09:12:47.870" v="1675"/>
        <pc:sldMkLst>
          <pc:docMk/>
          <pc:sldMk cId="2721051844" sldId="269"/>
        </pc:sldMkLst>
      </pc:sldChg>
      <pc:sldChg chg="mod modTransition modShow">
        <pc:chgData name="Thomas Stensitzki" userId="75cafe6b-2f2a-469b-85c4-eec3b9c972ba" providerId="ADAL" clId="{38265734-310D-45C8-99C3-9326DBD1A9F5}" dt="2023-07-06T09:12:47.870" v="1675"/>
        <pc:sldMkLst>
          <pc:docMk/>
          <pc:sldMk cId="1928334901" sldId="295"/>
        </pc:sldMkLst>
      </pc:sldChg>
      <pc:sldChg chg="modTransition">
        <pc:chgData name="Thomas Stensitzki" userId="75cafe6b-2f2a-469b-85c4-eec3b9c972ba" providerId="ADAL" clId="{38265734-310D-45C8-99C3-9326DBD1A9F5}" dt="2023-07-06T09:12:47.870" v="1675"/>
        <pc:sldMkLst>
          <pc:docMk/>
          <pc:sldMk cId="2814967912" sldId="311"/>
        </pc:sldMkLst>
      </pc:sldChg>
      <pc:sldChg chg="modSp mod modTransition">
        <pc:chgData name="Thomas Stensitzki" userId="75cafe6b-2f2a-469b-85c4-eec3b9c972ba" providerId="ADAL" clId="{38265734-310D-45C8-99C3-9326DBD1A9F5}" dt="2023-07-06T09:12:47.870" v="1675"/>
        <pc:sldMkLst>
          <pc:docMk/>
          <pc:sldMk cId="2227487991" sldId="378"/>
        </pc:sldMkLst>
        <pc:spChg chg="mod">
          <ac:chgData name="Thomas Stensitzki" userId="75cafe6b-2f2a-469b-85c4-eec3b9c972ba" providerId="ADAL" clId="{38265734-310D-45C8-99C3-9326DBD1A9F5}" dt="2023-07-04T17:40:07.424" v="871"/>
          <ac:spMkLst>
            <pc:docMk/>
            <pc:sldMk cId="2227487991" sldId="378"/>
            <ac:spMk id="5" creationId="{C24DACB5-1BEC-4C86-9652-BAFD8DE56FEF}"/>
          </ac:spMkLst>
        </pc:spChg>
      </pc:sldChg>
      <pc:sldChg chg="modTransition">
        <pc:chgData name="Thomas Stensitzki" userId="75cafe6b-2f2a-469b-85c4-eec3b9c972ba" providerId="ADAL" clId="{38265734-310D-45C8-99C3-9326DBD1A9F5}" dt="2023-07-06T09:12:47.870" v="1675"/>
        <pc:sldMkLst>
          <pc:docMk/>
          <pc:sldMk cId="2923837414" sldId="513"/>
        </pc:sldMkLst>
      </pc:sldChg>
      <pc:sldChg chg="modTransition">
        <pc:chgData name="Thomas Stensitzki" userId="75cafe6b-2f2a-469b-85c4-eec3b9c972ba" providerId="ADAL" clId="{38265734-310D-45C8-99C3-9326DBD1A9F5}" dt="2023-07-06T09:12:47.870" v="1675"/>
        <pc:sldMkLst>
          <pc:docMk/>
          <pc:sldMk cId="2395924320" sldId="514"/>
        </pc:sldMkLst>
      </pc:sldChg>
      <pc:sldChg chg="modSp mod modTransition">
        <pc:chgData name="Thomas Stensitzki" userId="75cafe6b-2f2a-469b-85c4-eec3b9c972ba" providerId="ADAL" clId="{38265734-310D-45C8-99C3-9326DBD1A9F5}" dt="2023-07-06T09:12:47.870" v="1675"/>
        <pc:sldMkLst>
          <pc:docMk/>
          <pc:sldMk cId="3797754622" sldId="515"/>
        </pc:sldMkLst>
        <pc:spChg chg="mod">
          <ac:chgData name="Thomas Stensitzki" userId="75cafe6b-2f2a-469b-85c4-eec3b9c972ba" providerId="ADAL" clId="{38265734-310D-45C8-99C3-9326DBD1A9F5}" dt="2023-07-04T17:39:04.364" v="861"/>
          <ac:spMkLst>
            <pc:docMk/>
            <pc:sldMk cId="3797754622" sldId="515"/>
            <ac:spMk id="5" creationId="{C24DACB5-1BEC-4C86-9652-BAFD8DE56FEF}"/>
          </ac:spMkLst>
        </pc:spChg>
      </pc:sldChg>
      <pc:sldChg chg="mod modTransition modShow">
        <pc:chgData name="Thomas Stensitzki" userId="75cafe6b-2f2a-469b-85c4-eec3b9c972ba" providerId="ADAL" clId="{38265734-310D-45C8-99C3-9326DBD1A9F5}" dt="2023-07-06T11:47:43.961" v="1763" actId="729"/>
        <pc:sldMkLst>
          <pc:docMk/>
          <pc:sldMk cId="2791634409" sldId="560"/>
        </pc:sldMkLst>
      </pc:sldChg>
      <pc:sldChg chg="modTransition">
        <pc:chgData name="Thomas Stensitzki" userId="75cafe6b-2f2a-469b-85c4-eec3b9c972ba" providerId="ADAL" clId="{38265734-310D-45C8-99C3-9326DBD1A9F5}" dt="2023-07-06T09:12:47.870" v="1675"/>
        <pc:sldMkLst>
          <pc:docMk/>
          <pc:sldMk cId="1051205786" sldId="607"/>
        </pc:sldMkLst>
      </pc:sldChg>
      <pc:sldChg chg="modSp mod modTransition">
        <pc:chgData name="Thomas Stensitzki" userId="75cafe6b-2f2a-469b-85c4-eec3b9c972ba" providerId="ADAL" clId="{38265734-310D-45C8-99C3-9326DBD1A9F5}" dt="2023-07-06T09:12:47.870" v="1675"/>
        <pc:sldMkLst>
          <pc:docMk/>
          <pc:sldMk cId="1962477249" sldId="659"/>
        </pc:sldMkLst>
        <pc:spChg chg="mod">
          <ac:chgData name="Thomas Stensitzki" userId="75cafe6b-2f2a-469b-85c4-eec3b9c972ba" providerId="ADAL" clId="{38265734-310D-45C8-99C3-9326DBD1A9F5}" dt="2023-07-04T17:10:33.335" v="38" actId="6549"/>
          <ac:spMkLst>
            <pc:docMk/>
            <pc:sldMk cId="1962477249" sldId="659"/>
            <ac:spMk id="5" creationId="{F3459BE7-1731-4733-A912-12977C68CFD6}"/>
          </ac:spMkLst>
        </pc:spChg>
      </pc:sldChg>
      <pc:sldChg chg="modSp mod modTransition">
        <pc:chgData name="Thomas Stensitzki" userId="75cafe6b-2f2a-469b-85c4-eec3b9c972ba" providerId="ADAL" clId="{38265734-310D-45C8-99C3-9326DBD1A9F5}" dt="2023-07-06T09:12:47.870" v="1675"/>
        <pc:sldMkLst>
          <pc:docMk/>
          <pc:sldMk cId="4212332529" sldId="661"/>
        </pc:sldMkLst>
        <pc:spChg chg="mod">
          <ac:chgData name="Thomas Stensitzki" userId="75cafe6b-2f2a-469b-85c4-eec3b9c972ba" providerId="ADAL" clId="{38265734-310D-45C8-99C3-9326DBD1A9F5}" dt="2023-07-04T17:11:35.736" v="51" actId="20577"/>
          <ac:spMkLst>
            <pc:docMk/>
            <pc:sldMk cId="4212332529" sldId="661"/>
            <ac:spMk id="4" creationId="{F3A15CBD-C746-44A3-A4F0-4898CE2F02E6}"/>
          </ac:spMkLst>
        </pc:spChg>
        <pc:spChg chg="mod">
          <ac:chgData name="Thomas Stensitzki" userId="75cafe6b-2f2a-469b-85c4-eec3b9c972ba" providerId="ADAL" clId="{38265734-310D-45C8-99C3-9326DBD1A9F5}" dt="2023-07-04T17:11:38.527" v="52" actId="6549"/>
          <ac:spMkLst>
            <pc:docMk/>
            <pc:sldMk cId="4212332529" sldId="661"/>
            <ac:spMk id="5" creationId="{F3459BE7-1731-4733-A912-12977C68CFD6}"/>
          </ac:spMkLst>
        </pc:spChg>
      </pc:sldChg>
      <pc:sldChg chg="del">
        <pc:chgData name="Thomas Stensitzki" userId="75cafe6b-2f2a-469b-85c4-eec3b9c972ba" providerId="ADAL" clId="{38265734-310D-45C8-99C3-9326DBD1A9F5}" dt="2023-07-04T17:10:52.056" v="41" actId="47"/>
        <pc:sldMkLst>
          <pc:docMk/>
          <pc:sldMk cId="3400462124" sldId="662"/>
        </pc:sldMkLst>
      </pc:sldChg>
      <pc:sldChg chg="del">
        <pc:chgData name="Thomas Stensitzki" userId="75cafe6b-2f2a-469b-85c4-eec3b9c972ba" providerId="ADAL" clId="{38265734-310D-45C8-99C3-9326DBD1A9F5}" dt="2023-07-04T17:10:42.016" v="39" actId="47"/>
        <pc:sldMkLst>
          <pc:docMk/>
          <pc:sldMk cId="3908660988" sldId="663"/>
        </pc:sldMkLst>
      </pc:sldChg>
      <pc:sldChg chg="del">
        <pc:chgData name="Thomas Stensitzki" userId="75cafe6b-2f2a-469b-85c4-eec3b9c972ba" providerId="ADAL" clId="{38265734-310D-45C8-99C3-9326DBD1A9F5}" dt="2023-07-04T17:10:47.896" v="40" actId="47"/>
        <pc:sldMkLst>
          <pc:docMk/>
          <pc:sldMk cId="1830824739" sldId="664"/>
        </pc:sldMkLst>
      </pc:sldChg>
      <pc:sldChg chg="del">
        <pc:chgData name="Thomas Stensitzki" userId="75cafe6b-2f2a-469b-85c4-eec3b9c972ba" providerId="ADAL" clId="{38265734-310D-45C8-99C3-9326DBD1A9F5}" dt="2023-07-04T17:10:42.016" v="39" actId="47"/>
        <pc:sldMkLst>
          <pc:docMk/>
          <pc:sldMk cId="923570546" sldId="665"/>
        </pc:sldMkLst>
      </pc:sldChg>
      <pc:sldChg chg="del">
        <pc:chgData name="Thomas Stensitzki" userId="75cafe6b-2f2a-469b-85c4-eec3b9c972ba" providerId="ADAL" clId="{38265734-310D-45C8-99C3-9326DBD1A9F5}" dt="2023-07-04T17:10:52.056" v="41" actId="47"/>
        <pc:sldMkLst>
          <pc:docMk/>
          <pc:sldMk cId="2929133666" sldId="666"/>
        </pc:sldMkLst>
      </pc:sldChg>
      <pc:sldChg chg="del">
        <pc:chgData name="Thomas Stensitzki" userId="75cafe6b-2f2a-469b-85c4-eec3b9c972ba" providerId="ADAL" clId="{38265734-310D-45C8-99C3-9326DBD1A9F5}" dt="2023-07-04T17:10:42.016" v="39" actId="47"/>
        <pc:sldMkLst>
          <pc:docMk/>
          <pc:sldMk cId="3802477703" sldId="667"/>
        </pc:sldMkLst>
      </pc:sldChg>
      <pc:sldChg chg="del">
        <pc:chgData name="Thomas Stensitzki" userId="75cafe6b-2f2a-469b-85c4-eec3b9c972ba" providerId="ADAL" clId="{38265734-310D-45C8-99C3-9326DBD1A9F5}" dt="2023-07-04T17:10:42.016" v="39" actId="47"/>
        <pc:sldMkLst>
          <pc:docMk/>
          <pc:sldMk cId="1650060701" sldId="668"/>
        </pc:sldMkLst>
      </pc:sldChg>
      <pc:sldChg chg="del">
        <pc:chgData name="Thomas Stensitzki" userId="75cafe6b-2f2a-469b-85c4-eec3b9c972ba" providerId="ADAL" clId="{38265734-310D-45C8-99C3-9326DBD1A9F5}" dt="2023-07-04T17:10:42.016" v="39" actId="47"/>
        <pc:sldMkLst>
          <pc:docMk/>
          <pc:sldMk cId="3682317345" sldId="670"/>
        </pc:sldMkLst>
      </pc:sldChg>
      <pc:sldChg chg="del">
        <pc:chgData name="Thomas Stensitzki" userId="75cafe6b-2f2a-469b-85c4-eec3b9c972ba" providerId="ADAL" clId="{38265734-310D-45C8-99C3-9326DBD1A9F5}" dt="2023-07-04T17:10:42.016" v="39" actId="47"/>
        <pc:sldMkLst>
          <pc:docMk/>
          <pc:sldMk cId="2047617742" sldId="671"/>
        </pc:sldMkLst>
      </pc:sldChg>
      <pc:sldChg chg="del">
        <pc:chgData name="Thomas Stensitzki" userId="75cafe6b-2f2a-469b-85c4-eec3b9c972ba" providerId="ADAL" clId="{38265734-310D-45C8-99C3-9326DBD1A9F5}" dt="2023-07-04T17:10:27.373" v="36" actId="47"/>
        <pc:sldMkLst>
          <pc:docMk/>
          <pc:sldMk cId="3858958038" sldId="672"/>
        </pc:sldMkLst>
      </pc:sldChg>
      <pc:sldChg chg="del">
        <pc:chgData name="Thomas Stensitzki" userId="75cafe6b-2f2a-469b-85c4-eec3b9c972ba" providerId="ADAL" clId="{38265734-310D-45C8-99C3-9326DBD1A9F5}" dt="2023-07-04T17:10:13.463" v="35" actId="47"/>
        <pc:sldMkLst>
          <pc:docMk/>
          <pc:sldMk cId="3468202035" sldId="673"/>
        </pc:sldMkLst>
      </pc:sldChg>
      <pc:sldChg chg="del">
        <pc:chgData name="Thomas Stensitzki" userId="75cafe6b-2f2a-469b-85c4-eec3b9c972ba" providerId="ADAL" clId="{38265734-310D-45C8-99C3-9326DBD1A9F5}" dt="2023-07-04T17:10:13.463" v="35" actId="47"/>
        <pc:sldMkLst>
          <pc:docMk/>
          <pc:sldMk cId="2327618361" sldId="674"/>
        </pc:sldMkLst>
      </pc:sldChg>
      <pc:sldChg chg="del">
        <pc:chgData name="Thomas Stensitzki" userId="75cafe6b-2f2a-469b-85c4-eec3b9c972ba" providerId="ADAL" clId="{38265734-310D-45C8-99C3-9326DBD1A9F5}" dt="2023-07-04T17:10:13.463" v="35" actId="47"/>
        <pc:sldMkLst>
          <pc:docMk/>
          <pc:sldMk cId="1759168096" sldId="675"/>
        </pc:sldMkLst>
      </pc:sldChg>
      <pc:sldChg chg="del">
        <pc:chgData name="Thomas Stensitzki" userId="75cafe6b-2f2a-469b-85c4-eec3b9c972ba" providerId="ADAL" clId="{38265734-310D-45C8-99C3-9326DBD1A9F5}" dt="2023-07-04T17:10:13.463" v="35" actId="47"/>
        <pc:sldMkLst>
          <pc:docMk/>
          <pc:sldMk cId="1298798883" sldId="676"/>
        </pc:sldMkLst>
      </pc:sldChg>
      <pc:sldChg chg="del">
        <pc:chgData name="Thomas Stensitzki" userId="75cafe6b-2f2a-469b-85c4-eec3b9c972ba" providerId="ADAL" clId="{38265734-310D-45C8-99C3-9326DBD1A9F5}" dt="2023-07-04T17:10:13.463" v="35" actId="47"/>
        <pc:sldMkLst>
          <pc:docMk/>
          <pc:sldMk cId="3589806354" sldId="678"/>
        </pc:sldMkLst>
      </pc:sldChg>
      <pc:sldChg chg="del">
        <pc:chgData name="Thomas Stensitzki" userId="75cafe6b-2f2a-469b-85c4-eec3b9c972ba" providerId="ADAL" clId="{38265734-310D-45C8-99C3-9326DBD1A9F5}" dt="2023-07-04T17:10:13.463" v="35" actId="47"/>
        <pc:sldMkLst>
          <pc:docMk/>
          <pc:sldMk cId="3797094460" sldId="679"/>
        </pc:sldMkLst>
      </pc:sldChg>
      <pc:sldChg chg="del">
        <pc:chgData name="Thomas Stensitzki" userId="75cafe6b-2f2a-469b-85c4-eec3b9c972ba" providerId="ADAL" clId="{38265734-310D-45C8-99C3-9326DBD1A9F5}" dt="2023-07-04T17:10:13.463" v="35" actId="47"/>
        <pc:sldMkLst>
          <pc:docMk/>
          <pc:sldMk cId="3004964480" sldId="680"/>
        </pc:sldMkLst>
      </pc:sldChg>
      <pc:sldChg chg="del">
        <pc:chgData name="Thomas Stensitzki" userId="75cafe6b-2f2a-469b-85c4-eec3b9c972ba" providerId="ADAL" clId="{38265734-310D-45C8-99C3-9326DBD1A9F5}" dt="2023-07-04T17:10:13.463" v="35" actId="47"/>
        <pc:sldMkLst>
          <pc:docMk/>
          <pc:sldMk cId="2318316286" sldId="681"/>
        </pc:sldMkLst>
      </pc:sldChg>
      <pc:sldChg chg="del">
        <pc:chgData name="Thomas Stensitzki" userId="75cafe6b-2f2a-469b-85c4-eec3b9c972ba" providerId="ADAL" clId="{38265734-310D-45C8-99C3-9326DBD1A9F5}" dt="2023-07-04T17:10:13.463" v="35" actId="47"/>
        <pc:sldMkLst>
          <pc:docMk/>
          <pc:sldMk cId="4114483723" sldId="682"/>
        </pc:sldMkLst>
      </pc:sldChg>
      <pc:sldChg chg="del">
        <pc:chgData name="Thomas Stensitzki" userId="75cafe6b-2f2a-469b-85c4-eec3b9c972ba" providerId="ADAL" clId="{38265734-310D-45C8-99C3-9326DBD1A9F5}" dt="2023-07-04T17:10:27.373" v="36" actId="47"/>
        <pc:sldMkLst>
          <pc:docMk/>
          <pc:sldMk cId="3010415139" sldId="683"/>
        </pc:sldMkLst>
      </pc:sldChg>
      <pc:sldChg chg="del">
        <pc:chgData name="Thomas Stensitzki" userId="75cafe6b-2f2a-469b-85c4-eec3b9c972ba" providerId="ADAL" clId="{38265734-310D-45C8-99C3-9326DBD1A9F5}" dt="2023-07-04T17:10:27.373" v="36" actId="47"/>
        <pc:sldMkLst>
          <pc:docMk/>
          <pc:sldMk cId="1765254123" sldId="684"/>
        </pc:sldMkLst>
      </pc:sldChg>
      <pc:sldChg chg="del">
        <pc:chgData name="Thomas Stensitzki" userId="75cafe6b-2f2a-469b-85c4-eec3b9c972ba" providerId="ADAL" clId="{38265734-310D-45C8-99C3-9326DBD1A9F5}" dt="2023-07-04T17:10:27.373" v="36" actId="47"/>
        <pc:sldMkLst>
          <pc:docMk/>
          <pc:sldMk cId="1361138141" sldId="685"/>
        </pc:sldMkLst>
      </pc:sldChg>
      <pc:sldChg chg="del">
        <pc:chgData name="Thomas Stensitzki" userId="75cafe6b-2f2a-469b-85c4-eec3b9c972ba" providerId="ADAL" clId="{38265734-310D-45C8-99C3-9326DBD1A9F5}" dt="2023-07-04T17:10:13.463" v="35" actId="47"/>
        <pc:sldMkLst>
          <pc:docMk/>
          <pc:sldMk cId="1099908272" sldId="686"/>
        </pc:sldMkLst>
      </pc:sldChg>
      <pc:sldChg chg="del">
        <pc:chgData name="Thomas Stensitzki" userId="75cafe6b-2f2a-469b-85c4-eec3b9c972ba" providerId="ADAL" clId="{38265734-310D-45C8-99C3-9326DBD1A9F5}" dt="2023-07-04T17:10:27.373" v="36" actId="47"/>
        <pc:sldMkLst>
          <pc:docMk/>
          <pc:sldMk cId="2682737613" sldId="687"/>
        </pc:sldMkLst>
      </pc:sldChg>
      <pc:sldChg chg="del">
        <pc:chgData name="Thomas Stensitzki" userId="75cafe6b-2f2a-469b-85c4-eec3b9c972ba" providerId="ADAL" clId="{38265734-310D-45C8-99C3-9326DBD1A9F5}" dt="2023-07-04T17:10:27.373" v="36" actId="47"/>
        <pc:sldMkLst>
          <pc:docMk/>
          <pc:sldMk cId="2943637064" sldId="688"/>
        </pc:sldMkLst>
      </pc:sldChg>
      <pc:sldChg chg="del">
        <pc:chgData name="Thomas Stensitzki" userId="75cafe6b-2f2a-469b-85c4-eec3b9c972ba" providerId="ADAL" clId="{38265734-310D-45C8-99C3-9326DBD1A9F5}" dt="2023-07-04T17:10:27.373" v="36" actId="47"/>
        <pc:sldMkLst>
          <pc:docMk/>
          <pc:sldMk cId="4179798793" sldId="689"/>
        </pc:sldMkLst>
      </pc:sldChg>
      <pc:sldChg chg="del">
        <pc:chgData name="Thomas Stensitzki" userId="75cafe6b-2f2a-469b-85c4-eec3b9c972ba" providerId="ADAL" clId="{38265734-310D-45C8-99C3-9326DBD1A9F5}" dt="2023-07-04T17:10:27.373" v="36" actId="47"/>
        <pc:sldMkLst>
          <pc:docMk/>
          <pc:sldMk cId="3467191386" sldId="690"/>
        </pc:sldMkLst>
      </pc:sldChg>
      <pc:sldChg chg="del">
        <pc:chgData name="Thomas Stensitzki" userId="75cafe6b-2f2a-469b-85c4-eec3b9c972ba" providerId="ADAL" clId="{38265734-310D-45C8-99C3-9326DBD1A9F5}" dt="2023-07-04T17:10:27.373" v="36" actId="47"/>
        <pc:sldMkLst>
          <pc:docMk/>
          <pc:sldMk cId="3176227063" sldId="691"/>
        </pc:sldMkLst>
      </pc:sldChg>
      <pc:sldChg chg="del">
        <pc:chgData name="Thomas Stensitzki" userId="75cafe6b-2f2a-469b-85c4-eec3b9c972ba" providerId="ADAL" clId="{38265734-310D-45C8-99C3-9326DBD1A9F5}" dt="2023-07-04T17:10:27.373" v="36" actId="47"/>
        <pc:sldMkLst>
          <pc:docMk/>
          <pc:sldMk cId="2332237802" sldId="692"/>
        </pc:sldMkLst>
      </pc:sldChg>
      <pc:sldChg chg="del">
        <pc:chgData name="Thomas Stensitzki" userId="75cafe6b-2f2a-469b-85c4-eec3b9c972ba" providerId="ADAL" clId="{38265734-310D-45C8-99C3-9326DBD1A9F5}" dt="2023-07-04T17:10:27.373" v="36" actId="47"/>
        <pc:sldMkLst>
          <pc:docMk/>
          <pc:sldMk cId="452218326" sldId="693"/>
        </pc:sldMkLst>
      </pc:sldChg>
      <pc:sldChg chg="del">
        <pc:chgData name="Thomas Stensitzki" userId="75cafe6b-2f2a-469b-85c4-eec3b9c972ba" providerId="ADAL" clId="{38265734-310D-45C8-99C3-9326DBD1A9F5}" dt="2023-07-04T17:10:27.373" v="36" actId="47"/>
        <pc:sldMkLst>
          <pc:docMk/>
          <pc:sldMk cId="1161338400" sldId="694"/>
        </pc:sldMkLst>
      </pc:sldChg>
      <pc:sldChg chg="del">
        <pc:chgData name="Thomas Stensitzki" userId="75cafe6b-2f2a-469b-85c4-eec3b9c972ba" providerId="ADAL" clId="{38265734-310D-45C8-99C3-9326DBD1A9F5}" dt="2023-07-04T17:10:27.373" v="36" actId="47"/>
        <pc:sldMkLst>
          <pc:docMk/>
          <pc:sldMk cId="3643256137" sldId="695"/>
        </pc:sldMkLst>
      </pc:sldChg>
      <pc:sldChg chg="del">
        <pc:chgData name="Thomas Stensitzki" userId="75cafe6b-2f2a-469b-85c4-eec3b9c972ba" providerId="ADAL" clId="{38265734-310D-45C8-99C3-9326DBD1A9F5}" dt="2023-07-04T17:10:27.373" v="36" actId="47"/>
        <pc:sldMkLst>
          <pc:docMk/>
          <pc:sldMk cId="3372974903" sldId="696"/>
        </pc:sldMkLst>
      </pc:sldChg>
      <pc:sldChg chg="del">
        <pc:chgData name="Thomas Stensitzki" userId="75cafe6b-2f2a-469b-85c4-eec3b9c972ba" providerId="ADAL" clId="{38265734-310D-45C8-99C3-9326DBD1A9F5}" dt="2023-07-04T17:10:13.463" v="35" actId="47"/>
        <pc:sldMkLst>
          <pc:docMk/>
          <pc:sldMk cId="374091465" sldId="697"/>
        </pc:sldMkLst>
      </pc:sldChg>
      <pc:sldChg chg="del">
        <pc:chgData name="Thomas Stensitzki" userId="75cafe6b-2f2a-469b-85c4-eec3b9c972ba" providerId="ADAL" clId="{38265734-310D-45C8-99C3-9326DBD1A9F5}" dt="2023-07-04T17:10:13.463" v="35" actId="47"/>
        <pc:sldMkLst>
          <pc:docMk/>
          <pc:sldMk cId="4258120031" sldId="698"/>
        </pc:sldMkLst>
      </pc:sldChg>
      <pc:sldChg chg="del">
        <pc:chgData name="Thomas Stensitzki" userId="75cafe6b-2f2a-469b-85c4-eec3b9c972ba" providerId="ADAL" clId="{38265734-310D-45C8-99C3-9326DBD1A9F5}" dt="2023-07-04T17:10:13.463" v="35" actId="47"/>
        <pc:sldMkLst>
          <pc:docMk/>
          <pc:sldMk cId="2743116939" sldId="699"/>
        </pc:sldMkLst>
      </pc:sldChg>
      <pc:sldChg chg="del">
        <pc:chgData name="Thomas Stensitzki" userId="75cafe6b-2f2a-469b-85c4-eec3b9c972ba" providerId="ADAL" clId="{38265734-310D-45C8-99C3-9326DBD1A9F5}" dt="2023-07-04T17:10:13.463" v="35" actId="47"/>
        <pc:sldMkLst>
          <pc:docMk/>
          <pc:sldMk cId="1230148335" sldId="700"/>
        </pc:sldMkLst>
      </pc:sldChg>
      <pc:sldChg chg="del">
        <pc:chgData name="Thomas Stensitzki" userId="75cafe6b-2f2a-469b-85c4-eec3b9c972ba" providerId="ADAL" clId="{38265734-310D-45C8-99C3-9326DBD1A9F5}" dt="2023-07-04T17:10:27.373" v="36" actId="47"/>
        <pc:sldMkLst>
          <pc:docMk/>
          <pc:sldMk cId="3896402637" sldId="701"/>
        </pc:sldMkLst>
      </pc:sldChg>
      <pc:sldChg chg="del">
        <pc:chgData name="Thomas Stensitzki" userId="75cafe6b-2f2a-469b-85c4-eec3b9c972ba" providerId="ADAL" clId="{38265734-310D-45C8-99C3-9326DBD1A9F5}" dt="2023-07-04T17:10:27.373" v="36" actId="47"/>
        <pc:sldMkLst>
          <pc:docMk/>
          <pc:sldMk cId="575615367" sldId="702"/>
        </pc:sldMkLst>
      </pc:sldChg>
      <pc:sldChg chg="del">
        <pc:chgData name="Thomas Stensitzki" userId="75cafe6b-2f2a-469b-85c4-eec3b9c972ba" providerId="ADAL" clId="{38265734-310D-45C8-99C3-9326DBD1A9F5}" dt="2023-07-04T17:10:13.463" v="35" actId="47"/>
        <pc:sldMkLst>
          <pc:docMk/>
          <pc:sldMk cId="4015570697" sldId="703"/>
        </pc:sldMkLst>
      </pc:sldChg>
      <pc:sldChg chg="del">
        <pc:chgData name="Thomas Stensitzki" userId="75cafe6b-2f2a-469b-85c4-eec3b9c972ba" providerId="ADAL" clId="{38265734-310D-45C8-99C3-9326DBD1A9F5}" dt="2023-07-04T17:10:13.463" v="35" actId="47"/>
        <pc:sldMkLst>
          <pc:docMk/>
          <pc:sldMk cId="1573460963" sldId="704"/>
        </pc:sldMkLst>
      </pc:sldChg>
      <pc:sldChg chg="del">
        <pc:chgData name="Thomas Stensitzki" userId="75cafe6b-2f2a-469b-85c4-eec3b9c972ba" providerId="ADAL" clId="{38265734-310D-45C8-99C3-9326DBD1A9F5}" dt="2023-07-04T17:10:13.463" v="35" actId="47"/>
        <pc:sldMkLst>
          <pc:docMk/>
          <pc:sldMk cId="2507653948" sldId="705"/>
        </pc:sldMkLst>
      </pc:sldChg>
      <pc:sldChg chg="del">
        <pc:chgData name="Thomas Stensitzki" userId="75cafe6b-2f2a-469b-85c4-eec3b9c972ba" providerId="ADAL" clId="{38265734-310D-45C8-99C3-9326DBD1A9F5}" dt="2023-07-04T17:10:27.373" v="36" actId="47"/>
        <pc:sldMkLst>
          <pc:docMk/>
          <pc:sldMk cId="2812659098" sldId="706"/>
        </pc:sldMkLst>
      </pc:sldChg>
      <pc:sldChg chg="del">
        <pc:chgData name="Thomas Stensitzki" userId="75cafe6b-2f2a-469b-85c4-eec3b9c972ba" providerId="ADAL" clId="{38265734-310D-45C8-99C3-9326DBD1A9F5}" dt="2023-07-04T17:10:27.373" v="36" actId="47"/>
        <pc:sldMkLst>
          <pc:docMk/>
          <pc:sldMk cId="1687698883" sldId="707"/>
        </pc:sldMkLst>
      </pc:sldChg>
      <pc:sldChg chg="del">
        <pc:chgData name="Thomas Stensitzki" userId="75cafe6b-2f2a-469b-85c4-eec3b9c972ba" providerId="ADAL" clId="{38265734-310D-45C8-99C3-9326DBD1A9F5}" dt="2023-07-04T17:10:27.373" v="36" actId="47"/>
        <pc:sldMkLst>
          <pc:docMk/>
          <pc:sldMk cId="228026287" sldId="708"/>
        </pc:sldMkLst>
      </pc:sldChg>
      <pc:sldChg chg="del">
        <pc:chgData name="Thomas Stensitzki" userId="75cafe6b-2f2a-469b-85c4-eec3b9c972ba" providerId="ADAL" clId="{38265734-310D-45C8-99C3-9326DBD1A9F5}" dt="2023-07-04T17:10:27.373" v="36" actId="47"/>
        <pc:sldMkLst>
          <pc:docMk/>
          <pc:sldMk cId="110691181" sldId="709"/>
        </pc:sldMkLst>
      </pc:sldChg>
      <pc:sldChg chg="del">
        <pc:chgData name="Thomas Stensitzki" userId="75cafe6b-2f2a-469b-85c4-eec3b9c972ba" providerId="ADAL" clId="{38265734-310D-45C8-99C3-9326DBD1A9F5}" dt="2023-07-04T17:10:27.373" v="36" actId="47"/>
        <pc:sldMkLst>
          <pc:docMk/>
          <pc:sldMk cId="548134817" sldId="710"/>
        </pc:sldMkLst>
      </pc:sldChg>
      <pc:sldChg chg="del">
        <pc:chgData name="Thomas Stensitzki" userId="75cafe6b-2f2a-469b-85c4-eec3b9c972ba" providerId="ADAL" clId="{38265734-310D-45C8-99C3-9326DBD1A9F5}" dt="2023-07-04T17:10:27.373" v="36" actId="47"/>
        <pc:sldMkLst>
          <pc:docMk/>
          <pc:sldMk cId="3364405255" sldId="711"/>
        </pc:sldMkLst>
      </pc:sldChg>
      <pc:sldChg chg="del">
        <pc:chgData name="Thomas Stensitzki" userId="75cafe6b-2f2a-469b-85c4-eec3b9c972ba" providerId="ADAL" clId="{38265734-310D-45C8-99C3-9326DBD1A9F5}" dt="2023-07-04T17:10:13.463" v="35" actId="47"/>
        <pc:sldMkLst>
          <pc:docMk/>
          <pc:sldMk cId="3869137616" sldId="712"/>
        </pc:sldMkLst>
      </pc:sldChg>
      <pc:sldChg chg="del">
        <pc:chgData name="Thomas Stensitzki" userId="75cafe6b-2f2a-469b-85c4-eec3b9c972ba" providerId="ADAL" clId="{38265734-310D-45C8-99C3-9326DBD1A9F5}" dt="2023-07-04T17:11:46.742" v="53" actId="47"/>
        <pc:sldMkLst>
          <pc:docMk/>
          <pc:sldMk cId="1812240311" sldId="713"/>
        </pc:sldMkLst>
      </pc:sldChg>
      <pc:sldChg chg="del">
        <pc:chgData name="Thomas Stensitzki" userId="75cafe6b-2f2a-469b-85c4-eec3b9c972ba" providerId="ADAL" clId="{38265734-310D-45C8-99C3-9326DBD1A9F5}" dt="2023-07-04T17:10:13.463" v="35" actId="47"/>
        <pc:sldMkLst>
          <pc:docMk/>
          <pc:sldMk cId="3493285919" sldId="714"/>
        </pc:sldMkLst>
      </pc:sldChg>
      <pc:sldChg chg="del">
        <pc:chgData name="Thomas Stensitzki" userId="75cafe6b-2f2a-469b-85c4-eec3b9c972ba" providerId="ADAL" clId="{38265734-310D-45C8-99C3-9326DBD1A9F5}" dt="2023-07-04T17:10:13.463" v="35" actId="47"/>
        <pc:sldMkLst>
          <pc:docMk/>
          <pc:sldMk cId="3096558029" sldId="715"/>
        </pc:sldMkLst>
      </pc:sldChg>
      <pc:sldChg chg="del">
        <pc:chgData name="Thomas Stensitzki" userId="75cafe6b-2f2a-469b-85c4-eec3b9c972ba" providerId="ADAL" clId="{38265734-310D-45C8-99C3-9326DBD1A9F5}" dt="2023-07-04T17:10:13.463" v="35" actId="47"/>
        <pc:sldMkLst>
          <pc:docMk/>
          <pc:sldMk cId="885506395" sldId="716"/>
        </pc:sldMkLst>
      </pc:sldChg>
      <pc:sldChg chg="del">
        <pc:chgData name="Thomas Stensitzki" userId="75cafe6b-2f2a-469b-85c4-eec3b9c972ba" providerId="ADAL" clId="{38265734-310D-45C8-99C3-9326DBD1A9F5}" dt="2023-07-04T17:10:13.463" v="35" actId="47"/>
        <pc:sldMkLst>
          <pc:docMk/>
          <pc:sldMk cId="3811181025" sldId="717"/>
        </pc:sldMkLst>
      </pc:sldChg>
      <pc:sldChg chg="del">
        <pc:chgData name="Thomas Stensitzki" userId="75cafe6b-2f2a-469b-85c4-eec3b9c972ba" providerId="ADAL" clId="{38265734-310D-45C8-99C3-9326DBD1A9F5}" dt="2023-07-04T17:10:13.463" v="35" actId="47"/>
        <pc:sldMkLst>
          <pc:docMk/>
          <pc:sldMk cId="1675618000" sldId="718"/>
        </pc:sldMkLst>
      </pc:sldChg>
      <pc:sldChg chg="del">
        <pc:chgData name="Thomas Stensitzki" userId="75cafe6b-2f2a-469b-85c4-eec3b9c972ba" providerId="ADAL" clId="{38265734-310D-45C8-99C3-9326DBD1A9F5}" dt="2023-07-04T17:10:13.463" v="35" actId="47"/>
        <pc:sldMkLst>
          <pc:docMk/>
          <pc:sldMk cId="3699936980" sldId="719"/>
        </pc:sldMkLst>
      </pc:sldChg>
      <pc:sldChg chg="del">
        <pc:chgData name="Thomas Stensitzki" userId="75cafe6b-2f2a-469b-85c4-eec3b9c972ba" providerId="ADAL" clId="{38265734-310D-45C8-99C3-9326DBD1A9F5}" dt="2023-07-04T17:10:13.463" v="35" actId="47"/>
        <pc:sldMkLst>
          <pc:docMk/>
          <pc:sldMk cId="1816139218" sldId="720"/>
        </pc:sldMkLst>
      </pc:sldChg>
      <pc:sldChg chg="del">
        <pc:chgData name="Thomas Stensitzki" userId="75cafe6b-2f2a-469b-85c4-eec3b9c972ba" providerId="ADAL" clId="{38265734-310D-45C8-99C3-9326DBD1A9F5}" dt="2023-07-04T17:10:13.463" v="35" actId="47"/>
        <pc:sldMkLst>
          <pc:docMk/>
          <pc:sldMk cId="2951801347" sldId="721"/>
        </pc:sldMkLst>
      </pc:sldChg>
      <pc:sldChg chg="del">
        <pc:chgData name="Thomas Stensitzki" userId="75cafe6b-2f2a-469b-85c4-eec3b9c972ba" providerId="ADAL" clId="{38265734-310D-45C8-99C3-9326DBD1A9F5}" dt="2023-07-04T17:10:27.373" v="36" actId="47"/>
        <pc:sldMkLst>
          <pc:docMk/>
          <pc:sldMk cId="286203048" sldId="722"/>
        </pc:sldMkLst>
      </pc:sldChg>
      <pc:sldChg chg="del">
        <pc:chgData name="Thomas Stensitzki" userId="75cafe6b-2f2a-469b-85c4-eec3b9c972ba" providerId="ADAL" clId="{38265734-310D-45C8-99C3-9326DBD1A9F5}" dt="2023-07-04T17:10:27.373" v="36" actId="47"/>
        <pc:sldMkLst>
          <pc:docMk/>
          <pc:sldMk cId="3113072159" sldId="723"/>
        </pc:sldMkLst>
      </pc:sldChg>
      <pc:sldChg chg="del">
        <pc:chgData name="Thomas Stensitzki" userId="75cafe6b-2f2a-469b-85c4-eec3b9c972ba" providerId="ADAL" clId="{38265734-310D-45C8-99C3-9326DBD1A9F5}" dt="2023-07-04T17:10:27.373" v="36" actId="47"/>
        <pc:sldMkLst>
          <pc:docMk/>
          <pc:sldMk cId="3469518411" sldId="724"/>
        </pc:sldMkLst>
      </pc:sldChg>
      <pc:sldChg chg="modTransition">
        <pc:chgData name="Thomas Stensitzki" userId="75cafe6b-2f2a-469b-85c4-eec3b9c972ba" providerId="ADAL" clId="{38265734-310D-45C8-99C3-9326DBD1A9F5}" dt="2023-07-06T09:12:47.870" v="1675"/>
        <pc:sldMkLst>
          <pc:docMk/>
          <pc:sldMk cId="1002613873" sldId="725"/>
        </pc:sldMkLst>
      </pc:sldChg>
      <pc:sldChg chg="modTransition">
        <pc:chgData name="Thomas Stensitzki" userId="75cafe6b-2f2a-469b-85c4-eec3b9c972ba" providerId="ADAL" clId="{38265734-310D-45C8-99C3-9326DBD1A9F5}" dt="2023-07-06T09:12:47.870" v="1675"/>
        <pc:sldMkLst>
          <pc:docMk/>
          <pc:sldMk cId="1629876044" sldId="726"/>
        </pc:sldMkLst>
      </pc:sldChg>
      <pc:sldChg chg="del">
        <pc:chgData name="Thomas Stensitzki" userId="75cafe6b-2f2a-469b-85c4-eec3b9c972ba" providerId="ADAL" clId="{38265734-310D-45C8-99C3-9326DBD1A9F5}" dt="2023-07-04T17:10:52.056" v="41" actId="47"/>
        <pc:sldMkLst>
          <pc:docMk/>
          <pc:sldMk cId="1727373922" sldId="727"/>
        </pc:sldMkLst>
      </pc:sldChg>
      <pc:sldChg chg="del">
        <pc:chgData name="Thomas Stensitzki" userId="75cafe6b-2f2a-469b-85c4-eec3b9c972ba" providerId="ADAL" clId="{38265734-310D-45C8-99C3-9326DBD1A9F5}" dt="2023-07-04T17:10:47.896" v="40" actId="47"/>
        <pc:sldMkLst>
          <pc:docMk/>
          <pc:sldMk cId="2980570034" sldId="728"/>
        </pc:sldMkLst>
      </pc:sldChg>
      <pc:sldChg chg="del">
        <pc:chgData name="Thomas Stensitzki" userId="75cafe6b-2f2a-469b-85c4-eec3b9c972ba" providerId="ADAL" clId="{38265734-310D-45C8-99C3-9326DBD1A9F5}" dt="2023-07-04T17:10:42.016" v="39" actId="47"/>
        <pc:sldMkLst>
          <pc:docMk/>
          <pc:sldMk cId="3577359359" sldId="729"/>
        </pc:sldMkLst>
      </pc:sldChg>
      <pc:sldChg chg="del">
        <pc:chgData name="Thomas Stensitzki" userId="75cafe6b-2f2a-469b-85c4-eec3b9c972ba" providerId="ADAL" clId="{38265734-310D-45C8-99C3-9326DBD1A9F5}" dt="2023-07-04T17:10:42.016" v="39" actId="47"/>
        <pc:sldMkLst>
          <pc:docMk/>
          <pc:sldMk cId="1502079206" sldId="730"/>
        </pc:sldMkLst>
      </pc:sldChg>
      <pc:sldChg chg="del">
        <pc:chgData name="Thomas Stensitzki" userId="75cafe6b-2f2a-469b-85c4-eec3b9c972ba" providerId="ADAL" clId="{38265734-310D-45C8-99C3-9326DBD1A9F5}" dt="2023-07-04T17:10:27.373" v="36" actId="47"/>
        <pc:sldMkLst>
          <pc:docMk/>
          <pc:sldMk cId="1769890538" sldId="731"/>
        </pc:sldMkLst>
      </pc:sldChg>
      <pc:sldChg chg="del">
        <pc:chgData name="Thomas Stensitzki" userId="75cafe6b-2f2a-469b-85c4-eec3b9c972ba" providerId="ADAL" clId="{38265734-310D-45C8-99C3-9326DBD1A9F5}" dt="2023-07-04T17:10:27.373" v="36" actId="47"/>
        <pc:sldMkLst>
          <pc:docMk/>
          <pc:sldMk cId="2791390437" sldId="732"/>
        </pc:sldMkLst>
      </pc:sldChg>
      <pc:sldChg chg="del">
        <pc:chgData name="Thomas Stensitzki" userId="75cafe6b-2f2a-469b-85c4-eec3b9c972ba" providerId="ADAL" clId="{38265734-310D-45C8-99C3-9326DBD1A9F5}" dt="2023-07-04T17:10:27.373" v="36" actId="47"/>
        <pc:sldMkLst>
          <pc:docMk/>
          <pc:sldMk cId="1361695656" sldId="733"/>
        </pc:sldMkLst>
      </pc:sldChg>
      <pc:sldChg chg="del">
        <pc:chgData name="Thomas Stensitzki" userId="75cafe6b-2f2a-469b-85c4-eec3b9c972ba" providerId="ADAL" clId="{38265734-310D-45C8-99C3-9326DBD1A9F5}" dt="2023-07-04T17:10:27.373" v="36" actId="47"/>
        <pc:sldMkLst>
          <pc:docMk/>
          <pc:sldMk cId="2251038635" sldId="734"/>
        </pc:sldMkLst>
      </pc:sldChg>
      <pc:sldChg chg="del">
        <pc:chgData name="Thomas Stensitzki" userId="75cafe6b-2f2a-469b-85c4-eec3b9c972ba" providerId="ADAL" clId="{38265734-310D-45C8-99C3-9326DBD1A9F5}" dt="2023-07-04T17:10:27.373" v="36" actId="47"/>
        <pc:sldMkLst>
          <pc:docMk/>
          <pc:sldMk cId="1632201943" sldId="735"/>
        </pc:sldMkLst>
      </pc:sldChg>
      <pc:sldChg chg="del">
        <pc:chgData name="Thomas Stensitzki" userId="75cafe6b-2f2a-469b-85c4-eec3b9c972ba" providerId="ADAL" clId="{38265734-310D-45C8-99C3-9326DBD1A9F5}" dt="2023-07-04T17:10:47.896" v="40" actId="47"/>
        <pc:sldMkLst>
          <pc:docMk/>
          <pc:sldMk cId="974887325" sldId="736"/>
        </pc:sldMkLst>
      </pc:sldChg>
      <pc:sldChg chg="del">
        <pc:chgData name="Thomas Stensitzki" userId="75cafe6b-2f2a-469b-85c4-eec3b9c972ba" providerId="ADAL" clId="{38265734-310D-45C8-99C3-9326DBD1A9F5}" dt="2023-07-04T17:10:47.896" v="40" actId="47"/>
        <pc:sldMkLst>
          <pc:docMk/>
          <pc:sldMk cId="158289274" sldId="737"/>
        </pc:sldMkLst>
      </pc:sldChg>
      <pc:sldChg chg="del">
        <pc:chgData name="Thomas Stensitzki" userId="75cafe6b-2f2a-469b-85c4-eec3b9c972ba" providerId="ADAL" clId="{38265734-310D-45C8-99C3-9326DBD1A9F5}" dt="2023-07-04T17:10:47.896" v="40" actId="47"/>
        <pc:sldMkLst>
          <pc:docMk/>
          <pc:sldMk cId="4000776221" sldId="738"/>
        </pc:sldMkLst>
      </pc:sldChg>
      <pc:sldChg chg="del">
        <pc:chgData name="Thomas Stensitzki" userId="75cafe6b-2f2a-469b-85c4-eec3b9c972ba" providerId="ADAL" clId="{38265734-310D-45C8-99C3-9326DBD1A9F5}" dt="2023-07-04T17:10:47.896" v="40" actId="47"/>
        <pc:sldMkLst>
          <pc:docMk/>
          <pc:sldMk cId="3492126300" sldId="739"/>
        </pc:sldMkLst>
      </pc:sldChg>
      <pc:sldChg chg="del">
        <pc:chgData name="Thomas Stensitzki" userId="75cafe6b-2f2a-469b-85c4-eec3b9c972ba" providerId="ADAL" clId="{38265734-310D-45C8-99C3-9326DBD1A9F5}" dt="2023-07-04T17:10:47.896" v="40" actId="47"/>
        <pc:sldMkLst>
          <pc:docMk/>
          <pc:sldMk cId="4097662530" sldId="740"/>
        </pc:sldMkLst>
      </pc:sldChg>
      <pc:sldChg chg="modTransition">
        <pc:chgData name="Thomas Stensitzki" userId="75cafe6b-2f2a-469b-85c4-eec3b9c972ba" providerId="ADAL" clId="{38265734-310D-45C8-99C3-9326DBD1A9F5}" dt="2023-07-06T09:12:47.870" v="1675"/>
        <pc:sldMkLst>
          <pc:docMk/>
          <pc:sldMk cId="980172925" sldId="741"/>
        </pc:sldMkLst>
      </pc:sldChg>
      <pc:sldChg chg="del">
        <pc:chgData name="Thomas Stensitzki" userId="75cafe6b-2f2a-469b-85c4-eec3b9c972ba" providerId="ADAL" clId="{38265734-310D-45C8-99C3-9326DBD1A9F5}" dt="2023-07-04T17:10:47.896" v="40" actId="47"/>
        <pc:sldMkLst>
          <pc:docMk/>
          <pc:sldMk cId="2087758615" sldId="742"/>
        </pc:sldMkLst>
      </pc:sldChg>
      <pc:sldChg chg="modSp new mod modTransition">
        <pc:chgData name="Thomas Stensitzki" userId="75cafe6b-2f2a-469b-85c4-eec3b9c972ba" providerId="ADAL" clId="{38265734-310D-45C8-99C3-9326DBD1A9F5}" dt="2023-07-06T09:12:47.870" v="1675"/>
        <pc:sldMkLst>
          <pc:docMk/>
          <pc:sldMk cId="3557551175" sldId="742"/>
        </pc:sldMkLst>
        <pc:spChg chg="mod">
          <ac:chgData name="Thomas Stensitzki" userId="75cafe6b-2f2a-469b-85c4-eec3b9c972ba" providerId="ADAL" clId="{38265734-310D-45C8-99C3-9326DBD1A9F5}" dt="2023-07-04T17:13:29.695" v="66" actId="20577"/>
          <ac:spMkLst>
            <pc:docMk/>
            <pc:sldMk cId="3557551175" sldId="742"/>
            <ac:spMk id="2" creationId="{25669646-BDA5-829D-CE77-6B7DEA2ECD1C}"/>
          </ac:spMkLst>
        </pc:spChg>
        <pc:spChg chg="mod">
          <ac:chgData name="Thomas Stensitzki" userId="75cafe6b-2f2a-469b-85c4-eec3b9c972ba" providerId="ADAL" clId="{38265734-310D-45C8-99C3-9326DBD1A9F5}" dt="2023-07-04T17:19:58.644" v="261" actId="6549"/>
          <ac:spMkLst>
            <pc:docMk/>
            <pc:sldMk cId="3557551175" sldId="742"/>
            <ac:spMk id="3" creationId="{A73292BD-6D4D-8DEF-24E0-3BA35B152797}"/>
          </ac:spMkLst>
        </pc:spChg>
      </pc:sldChg>
      <pc:sldChg chg="addSp modSp add mod modTransition">
        <pc:chgData name="Thomas Stensitzki" userId="75cafe6b-2f2a-469b-85c4-eec3b9c972ba" providerId="ADAL" clId="{38265734-310D-45C8-99C3-9326DBD1A9F5}" dt="2023-07-06T09:12:47.870" v="1675"/>
        <pc:sldMkLst>
          <pc:docMk/>
          <pc:sldMk cId="3417373465" sldId="743"/>
        </pc:sldMkLst>
        <pc:spChg chg="mod">
          <ac:chgData name="Thomas Stensitzki" userId="75cafe6b-2f2a-469b-85c4-eec3b9c972ba" providerId="ADAL" clId="{38265734-310D-45C8-99C3-9326DBD1A9F5}" dt="2023-07-04T17:19:52.050" v="251" actId="6549"/>
          <ac:spMkLst>
            <pc:docMk/>
            <pc:sldMk cId="3417373465" sldId="743"/>
            <ac:spMk id="3" creationId="{A73292BD-6D4D-8DEF-24E0-3BA35B152797}"/>
          </ac:spMkLst>
        </pc:spChg>
        <pc:spChg chg="add">
          <ac:chgData name="Thomas Stensitzki" userId="75cafe6b-2f2a-469b-85c4-eec3b9c972ba" providerId="ADAL" clId="{38265734-310D-45C8-99C3-9326DBD1A9F5}" dt="2023-07-04T17:24:41.148" v="428" actId="22"/>
          <ac:spMkLst>
            <pc:docMk/>
            <pc:sldMk cId="3417373465" sldId="743"/>
            <ac:spMk id="7" creationId="{94AFEE07-AB58-E317-81FD-204732E5B749}"/>
          </ac:spMkLst>
        </pc:spChg>
        <pc:picChg chg="add mod">
          <ac:chgData name="Thomas Stensitzki" userId="75cafe6b-2f2a-469b-85c4-eec3b9c972ba" providerId="ADAL" clId="{38265734-310D-45C8-99C3-9326DBD1A9F5}" dt="2023-07-04T17:19:35.511" v="235" actId="1076"/>
          <ac:picMkLst>
            <pc:docMk/>
            <pc:sldMk cId="3417373465" sldId="743"/>
            <ac:picMk id="5" creationId="{B2F9B17F-E6DD-092C-7884-0806803A1168}"/>
          </ac:picMkLst>
        </pc:picChg>
      </pc:sldChg>
      <pc:sldChg chg="modSp new mod modTransition">
        <pc:chgData name="Thomas Stensitzki" userId="75cafe6b-2f2a-469b-85c4-eec3b9c972ba" providerId="ADAL" clId="{38265734-310D-45C8-99C3-9326DBD1A9F5}" dt="2023-07-06T09:12:47.870" v="1675"/>
        <pc:sldMkLst>
          <pc:docMk/>
          <pc:sldMk cId="2876131910" sldId="744"/>
        </pc:sldMkLst>
        <pc:spChg chg="mod">
          <ac:chgData name="Thomas Stensitzki" userId="75cafe6b-2f2a-469b-85c4-eec3b9c972ba" providerId="ADAL" clId="{38265734-310D-45C8-99C3-9326DBD1A9F5}" dt="2023-07-04T17:20:59.894" v="269"/>
          <ac:spMkLst>
            <pc:docMk/>
            <pc:sldMk cId="2876131910" sldId="744"/>
            <ac:spMk id="2" creationId="{05A22D7D-30E5-D9F7-51DA-0E455A97C803}"/>
          </ac:spMkLst>
        </pc:spChg>
        <pc:spChg chg="mod">
          <ac:chgData name="Thomas Stensitzki" userId="75cafe6b-2f2a-469b-85c4-eec3b9c972ba" providerId="ADAL" clId="{38265734-310D-45C8-99C3-9326DBD1A9F5}" dt="2023-07-04T17:32:54.980" v="827" actId="20577"/>
          <ac:spMkLst>
            <pc:docMk/>
            <pc:sldMk cId="2876131910" sldId="744"/>
            <ac:spMk id="3" creationId="{69B722EA-1916-F112-CA6B-B7EC23B8BCD8}"/>
          </ac:spMkLst>
        </pc:spChg>
      </pc:sldChg>
      <pc:sldChg chg="modSp new mod modTransition">
        <pc:chgData name="Thomas Stensitzki" userId="75cafe6b-2f2a-469b-85c4-eec3b9c972ba" providerId="ADAL" clId="{38265734-310D-45C8-99C3-9326DBD1A9F5}" dt="2023-07-06T09:12:47.870" v="1675"/>
        <pc:sldMkLst>
          <pc:docMk/>
          <pc:sldMk cId="647126880" sldId="745"/>
        </pc:sldMkLst>
        <pc:spChg chg="mod">
          <ac:chgData name="Thomas Stensitzki" userId="75cafe6b-2f2a-469b-85c4-eec3b9c972ba" providerId="ADAL" clId="{38265734-310D-45C8-99C3-9326DBD1A9F5}" dt="2023-07-04T17:25:02.849" v="435"/>
          <ac:spMkLst>
            <pc:docMk/>
            <pc:sldMk cId="647126880" sldId="745"/>
            <ac:spMk id="2" creationId="{E63BCD18-CDDD-E574-9C20-75C0703A2D8D}"/>
          </ac:spMkLst>
        </pc:spChg>
        <pc:spChg chg="mod">
          <ac:chgData name="Thomas Stensitzki" userId="75cafe6b-2f2a-469b-85c4-eec3b9c972ba" providerId="ADAL" clId="{38265734-310D-45C8-99C3-9326DBD1A9F5}" dt="2023-07-04T17:32:37.869" v="820" actId="108"/>
          <ac:spMkLst>
            <pc:docMk/>
            <pc:sldMk cId="647126880" sldId="745"/>
            <ac:spMk id="3" creationId="{A3D8A0B5-8F2B-4896-7AC6-91FF82DB41A7}"/>
          </ac:spMkLst>
        </pc:spChg>
      </pc:sldChg>
      <pc:sldChg chg="modSp new mod modTransition">
        <pc:chgData name="Thomas Stensitzki" userId="75cafe6b-2f2a-469b-85c4-eec3b9c972ba" providerId="ADAL" clId="{38265734-310D-45C8-99C3-9326DBD1A9F5}" dt="2023-07-06T09:12:47.870" v="1675"/>
        <pc:sldMkLst>
          <pc:docMk/>
          <pc:sldMk cId="4269955596" sldId="746"/>
        </pc:sldMkLst>
        <pc:spChg chg="mod">
          <ac:chgData name="Thomas Stensitzki" userId="75cafe6b-2f2a-469b-85c4-eec3b9c972ba" providerId="ADAL" clId="{38265734-310D-45C8-99C3-9326DBD1A9F5}" dt="2023-07-04T17:29:00.079" v="549"/>
          <ac:spMkLst>
            <pc:docMk/>
            <pc:sldMk cId="4269955596" sldId="746"/>
            <ac:spMk id="2" creationId="{6EFB7124-AF88-388E-8F71-8A36F7D64C1F}"/>
          </ac:spMkLst>
        </pc:spChg>
        <pc:spChg chg="mod">
          <ac:chgData name="Thomas Stensitzki" userId="75cafe6b-2f2a-469b-85c4-eec3b9c972ba" providerId="ADAL" clId="{38265734-310D-45C8-99C3-9326DBD1A9F5}" dt="2023-07-04T17:32:25.273" v="819" actId="404"/>
          <ac:spMkLst>
            <pc:docMk/>
            <pc:sldMk cId="4269955596" sldId="746"/>
            <ac:spMk id="3" creationId="{90B55215-A3D5-BEBD-71F6-F0C5D9EC6B9B}"/>
          </ac:spMkLst>
        </pc:spChg>
      </pc:sldChg>
      <pc:sldChg chg="addSp delSp modSp new mod modTransition">
        <pc:chgData name="Thomas Stensitzki" userId="75cafe6b-2f2a-469b-85c4-eec3b9c972ba" providerId="ADAL" clId="{38265734-310D-45C8-99C3-9326DBD1A9F5}" dt="2023-07-06T09:12:47.870" v="1675"/>
        <pc:sldMkLst>
          <pc:docMk/>
          <pc:sldMk cId="2976596190" sldId="747"/>
        </pc:sldMkLst>
        <pc:spChg chg="mod">
          <ac:chgData name="Thomas Stensitzki" userId="75cafe6b-2f2a-469b-85c4-eec3b9c972ba" providerId="ADAL" clId="{38265734-310D-45C8-99C3-9326DBD1A9F5}" dt="2023-07-04T17:33:48.874" v="833"/>
          <ac:spMkLst>
            <pc:docMk/>
            <pc:sldMk cId="2976596190" sldId="747"/>
            <ac:spMk id="2" creationId="{B507E75F-8CAF-076C-CA29-0AB5E10D5317}"/>
          </ac:spMkLst>
        </pc:spChg>
        <pc:spChg chg="del">
          <ac:chgData name="Thomas Stensitzki" userId="75cafe6b-2f2a-469b-85c4-eec3b9c972ba" providerId="ADAL" clId="{38265734-310D-45C8-99C3-9326DBD1A9F5}" dt="2023-07-04T17:34:06.365" v="834" actId="478"/>
          <ac:spMkLst>
            <pc:docMk/>
            <pc:sldMk cId="2976596190" sldId="747"/>
            <ac:spMk id="3" creationId="{CE14BA50-FA92-CF13-D87B-EDA4F4AB07BC}"/>
          </ac:spMkLst>
        </pc:spChg>
        <pc:spChg chg="add del">
          <ac:chgData name="Thomas Stensitzki" userId="75cafe6b-2f2a-469b-85c4-eec3b9c972ba" providerId="ADAL" clId="{38265734-310D-45C8-99C3-9326DBD1A9F5}" dt="2023-07-04T17:34:09.587" v="836" actId="22"/>
          <ac:spMkLst>
            <pc:docMk/>
            <pc:sldMk cId="2976596190" sldId="747"/>
            <ac:spMk id="5" creationId="{57F087E1-B9ED-9EC6-831F-1B3B4207B495}"/>
          </ac:spMkLst>
        </pc:spChg>
        <pc:picChg chg="add mod">
          <ac:chgData name="Thomas Stensitzki" userId="75cafe6b-2f2a-469b-85c4-eec3b9c972ba" providerId="ADAL" clId="{38265734-310D-45C8-99C3-9326DBD1A9F5}" dt="2023-07-04T17:34:27.500" v="840" actId="1440"/>
          <ac:picMkLst>
            <pc:docMk/>
            <pc:sldMk cId="2976596190" sldId="747"/>
            <ac:picMk id="1026" creationId="{A770189C-6CFB-FA93-9102-265EF67ACDA4}"/>
          </ac:picMkLst>
        </pc:picChg>
      </pc:sldChg>
      <pc:sldChg chg="modSp add modTransition">
        <pc:chgData name="Thomas Stensitzki" userId="75cafe6b-2f2a-469b-85c4-eec3b9c972ba" providerId="ADAL" clId="{38265734-310D-45C8-99C3-9326DBD1A9F5}" dt="2023-07-06T09:12:47.870" v="1675"/>
        <pc:sldMkLst>
          <pc:docMk/>
          <pc:sldMk cId="4294720854" sldId="748"/>
        </pc:sldMkLst>
        <pc:picChg chg="mod">
          <ac:chgData name="Thomas Stensitzki" userId="75cafe6b-2f2a-469b-85c4-eec3b9c972ba" providerId="ADAL" clId="{38265734-310D-45C8-99C3-9326DBD1A9F5}" dt="2023-07-04T17:34:41.522" v="842" actId="14826"/>
          <ac:picMkLst>
            <pc:docMk/>
            <pc:sldMk cId="4294720854" sldId="748"/>
            <ac:picMk id="1026" creationId="{A770189C-6CFB-FA93-9102-265EF67ACDA4}"/>
          </ac:picMkLst>
        </pc:picChg>
      </pc:sldChg>
      <pc:sldChg chg="addSp delSp modSp new mod modTransition">
        <pc:chgData name="Thomas Stensitzki" userId="75cafe6b-2f2a-469b-85c4-eec3b9c972ba" providerId="ADAL" clId="{38265734-310D-45C8-99C3-9326DBD1A9F5}" dt="2023-07-06T09:12:47.870" v="1675"/>
        <pc:sldMkLst>
          <pc:docMk/>
          <pc:sldMk cId="2501624097" sldId="749"/>
        </pc:sldMkLst>
        <pc:spChg chg="mod">
          <ac:chgData name="Thomas Stensitzki" userId="75cafe6b-2f2a-469b-85c4-eec3b9c972ba" providerId="ADAL" clId="{38265734-310D-45C8-99C3-9326DBD1A9F5}" dt="2023-07-04T17:36:13.979" v="845"/>
          <ac:spMkLst>
            <pc:docMk/>
            <pc:sldMk cId="2501624097" sldId="749"/>
            <ac:spMk id="2" creationId="{3792302E-9793-3DAF-B48B-A7227CDEC7F3}"/>
          </ac:spMkLst>
        </pc:spChg>
        <pc:spChg chg="del mod">
          <ac:chgData name="Thomas Stensitzki" userId="75cafe6b-2f2a-469b-85c4-eec3b9c972ba" providerId="ADAL" clId="{38265734-310D-45C8-99C3-9326DBD1A9F5}" dt="2023-07-04T17:36:16.215" v="847" actId="478"/>
          <ac:spMkLst>
            <pc:docMk/>
            <pc:sldMk cId="2501624097" sldId="749"/>
            <ac:spMk id="3" creationId="{E1C5A94D-6AEE-0D4D-43AB-CEF07331C7E8}"/>
          </ac:spMkLst>
        </pc:spChg>
        <pc:picChg chg="add mod">
          <ac:chgData name="Thomas Stensitzki" userId="75cafe6b-2f2a-469b-85c4-eec3b9c972ba" providerId="ADAL" clId="{38265734-310D-45C8-99C3-9326DBD1A9F5}" dt="2023-07-04T17:37:11.919" v="854" actId="14100"/>
          <ac:picMkLst>
            <pc:docMk/>
            <pc:sldMk cId="2501624097" sldId="749"/>
            <ac:picMk id="2050" creationId="{02589CE5-5B1D-97FE-B175-FABA0D903EA3}"/>
          </ac:picMkLst>
        </pc:picChg>
        <pc:picChg chg="add mod">
          <ac:chgData name="Thomas Stensitzki" userId="75cafe6b-2f2a-469b-85c4-eec3b9c972ba" providerId="ADAL" clId="{38265734-310D-45C8-99C3-9326DBD1A9F5}" dt="2023-07-04T17:37:32.192" v="857" actId="1440"/>
          <ac:picMkLst>
            <pc:docMk/>
            <pc:sldMk cId="2501624097" sldId="749"/>
            <ac:picMk id="2052" creationId="{5D98C4DE-C8B0-73B6-A46E-B0C31EF2C2E1}"/>
          </ac:picMkLst>
        </pc:picChg>
      </pc:sldChg>
      <pc:sldChg chg="modSp add modTransition">
        <pc:chgData name="Thomas Stensitzki" userId="75cafe6b-2f2a-469b-85c4-eec3b9c972ba" providerId="ADAL" clId="{38265734-310D-45C8-99C3-9326DBD1A9F5}" dt="2023-07-06T09:12:47.870" v="1675"/>
        <pc:sldMkLst>
          <pc:docMk/>
          <pc:sldMk cId="2026815640" sldId="750"/>
        </pc:sldMkLst>
        <pc:picChg chg="mod">
          <ac:chgData name="Thomas Stensitzki" userId="75cafe6b-2f2a-469b-85c4-eec3b9c972ba" providerId="ADAL" clId="{38265734-310D-45C8-99C3-9326DBD1A9F5}" dt="2023-07-04T17:37:47.403" v="859" actId="14826"/>
          <ac:picMkLst>
            <pc:docMk/>
            <pc:sldMk cId="2026815640" sldId="750"/>
            <ac:picMk id="2052" creationId="{5D98C4DE-C8B0-73B6-A46E-B0C31EF2C2E1}"/>
          </ac:picMkLst>
        </pc:picChg>
      </pc:sldChg>
      <pc:sldChg chg="addSp delSp modSp new mod modTransition">
        <pc:chgData name="Thomas Stensitzki" userId="75cafe6b-2f2a-469b-85c4-eec3b9c972ba" providerId="ADAL" clId="{38265734-310D-45C8-99C3-9326DBD1A9F5}" dt="2023-07-06T09:12:47.870" v="1675"/>
        <pc:sldMkLst>
          <pc:docMk/>
          <pc:sldMk cId="1546711668" sldId="751"/>
        </pc:sldMkLst>
        <pc:spChg chg="mod">
          <ac:chgData name="Thomas Stensitzki" userId="75cafe6b-2f2a-469b-85c4-eec3b9c972ba" providerId="ADAL" clId="{38265734-310D-45C8-99C3-9326DBD1A9F5}" dt="2023-07-04T17:39:11.489" v="863"/>
          <ac:spMkLst>
            <pc:docMk/>
            <pc:sldMk cId="1546711668" sldId="751"/>
            <ac:spMk id="2" creationId="{7DABA570-3B10-05E2-CC04-3A6D28E33FAE}"/>
          </ac:spMkLst>
        </pc:spChg>
        <pc:spChg chg="del">
          <ac:chgData name="Thomas Stensitzki" userId="75cafe6b-2f2a-469b-85c4-eec3b9c972ba" providerId="ADAL" clId="{38265734-310D-45C8-99C3-9326DBD1A9F5}" dt="2023-07-04T17:39:19.911" v="864" actId="478"/>
          <ac:spMkLst>
            <pc:docMk/>
            <pc:sldMk cId="1546711668" sldId="751"/>
            <ac:spMk id="3" creationId="{39B79A4D-1648-C166-6EDF-4F8E0E56BE99}"/>
          </ac:spMkLst>
        </pc:spChg>
        <pc:picChg chg="add mod">
          <ac:chgData name="Thomas Stensitzki" userId="75cafe6b-2f2a-469b-85c4-eec3b9c972ba" providerId="ADAL" clId="{38265734-310D-45C8-99C3-9326DBD1A9F5}" dt="2023-07-04T17:39:31.947" v="868" actId="1440"/>
          <ac:picMkLst>
            <pc:docMk/>
            <pc:sldMk cId="1546711668" sldId="751"/>
            <ac:picMk id="4" creationId="{725CD086-AE5D-F5E6-BCC0-CEE939ECDE61}"/>
          </ac:picMkLst>
        </pc:picChg>
      </pc:sldChg>
      <pc:sldChg chg="modSp add mod modTransition">
        <pc:chgData name="Thomas Stensitzki" userId="75cafe6b-2f2a-469b-85c4-eec3b9c972ba" providerId="ADAL" clId="{38265734-310D-45C8-99C3-9326DBD1A9F5}" dt="2023-07-06T09:12:47.870" v="1675"/>
        <pc:sldMkLst>
          <pc:docMk/>
          <pc:sldMk cId="2598459548" sldId="752"/>
        </pc:sldMkLst>
        <pc:picChg chg="mod">
          <ac:chgData name="Thomas Stensitzki" userId="75cafe6b-2f2a-469b-85c4-eec3b9c972ba" providerId="ADAL" clId="{38265734-310D-45C8-99C3-9326DBD1A9F5}" dt="2023-07-04T17:39:43.675" v="870" actId="14826"/>
          <ac:picMkLst>
            <pc:docMk/>
            <pc:sldMk cId="2598459548" sldId="752"/>
            <ac:picMk id="4" creationId="{725CD086-AE5D-F5E6-BCC0-CEE939ECDE61}"/>
          </ac:picMkLst>
        </pc:picChg>
      </pc:sldChg>
      <pc:sldChg chg="addSp delSp modSp new mod modTransition modClrScheme chgLayout">
        <pc:chgData name="Thomas Stensitzki" userId="75cafe6b-2f2a-469b-85c4-eec3b9c972ba" providerId="ADAL" clId="{38265734-310D-45C8-99C3-9326DBD1A9F5}" dt="2023-07-06T09:12:47.870" v="1675"/>
        <pc:sldMkLst>
          <pc:docMk/>
          <pc:sldMk cId="3863686543" sldId="753"/>
        </pc:sldMkLst>
        <pc:spChg chg="del mod ord">
          <ac:chgData name="Thomas Stensitzki" userId="75cafe6b-2f2a-469b-85c4-eec3b9c972ba" providerId="ADAL" clId="{38265734-310D-45C8-99C3-9326DBD1A9F5}" dt="2023-07-04T17:40:20.771" v="873" actId="700"/>
          <ac:spMkLst>
            <pc:docMk/>
            <pc:sldMk cId="3863686543" sldId="753"/>
            <ac:spMk id="2" creationId="{DBE247AA-1ECA-8679-A40F-4D8002A8C022}"/>
          </ac:spMkLst>
        </pc:spChg>
        <pc:spChg chg="del">
          <ac:chgData name="Thomas Stensitzki" userId="75cafe6b-2f2a-469b-85c4-eec3b9c972ba" providerId="ADAL" clId="{38265734-310D-45C8-99C3-9326DBD1A9F5}" dt="2023-07-04T17:40:20.771" v="873" actId="700"/>
          <ac:spMkLst>
            <pc:docMk/>
            <pc:sldMk cId="3863686543" sldId="753"/>
            <ac:spMk id="3" creationId="{893605D7-8A0D-6581-E50E-A1A00F0E7E3E}"/>
          </ac:spMkLst>
        </pc:spChg>
        <pc:spChg chg="add mod ord">
          <ac:chgData name="Thomas Stensitzki" userId="75cafe6b-2f2a-469b-85c4-eec3b9c972ba" providerId="ADAL" clId="{38265734-310D-45C8-99C3-9326DBD1A9F5}" dt="2023-07-04T17:41:59.899" v="892" actId="700"/>
          <ac:spMkLst>
            <pc:docMk/>
            <pc:sldMk cId="3863686543" sldId="753"/>
            <ac:spMk id="4" creationId="{D206F3D5-85C3-1361-4181-95F4BC1D5551}"/>
          </ac:spMkLst>
        </pc:spChg>
        <pc:spChg chg="add mod ord">
          <ac:chgData name="Thomas Stensitzki" userId="75cafe6b-2f2a-469b-85c4-eec3b9c972ba" providerId="ADAL" clId="{38265734-310D-45C8-99C3-9326DBD1A9F5}" dt="2023-07-04T17:42:42.863" v="956" actId="6549"/>
          <ac:spMkLst>
            <pc:docMk/>
            <pc:sldMk cId="3863686543" sldId="753"/>
            <ac:spMk id="5" creationId="{A611C7A5-548F-D396-5ED3-BD1D3B2C100A}"/>
          </ac:spMkLst>
        </pc:spChg>
        <pc:picChg chg="add mod">
          <ac:chgData name="Thomas Stensitzki" userId="75cafe6b-2f2a-469b-85c4-eec3b9c972ba" providerId="ADAL" clId="{38265734-310D-45C8-99C3-9326DBD1A9F5}" dt="2023-07-04T17:42:04.534" v="894" actId="1076"/>
          <ac:picMkLst>
            <pc:docMk/>
            <pc:sldMk cId="3863686543" sldId="753"/>
            <ac:picMk id="3074" creationId="{FD99560C-CCF0-E12A-FEAC-0817DE972DEC}"/>
          </ac:picMkLst>
        </pc:picChg>
      </pc:sldChg>
      <pc:sldChg chg="addSp delSp modSp add del mod modTransition">
        <pc:chgData name="Thomas Stensitzki" userId="75cafe6b-2f2a-469b-85c4-eec3b9c972ba" providerId="ADAL" clId="{38265734-310D-45C8-99C3-9326DBD1A9F5}" dt="2023-07-06T09:12:47.870" v="1675"/>
        <pc:sldMkLst>
          <pc:docMk/>
          <pc:sldMk cId="4175667725" sldId="754"/>
        </pc:sldMkLst>
        <pc:picChg chg="add mod">
          <ac:chgData name="Thomas Stensitzki" userId="75cafe6b-2f2a-469b-85c4-eec3b9c972ba" providerId="ADAL" clId="{38265734-310D-45C8-99C3-9326DBD1A9F5}" dt="2023-07-04T17:41:52.714" v="891" actId="14826"/>
          <ac:picMkLst>
            <pc:docMk/>
            <pc:sldMk cId="4175667725" sldId="754"/>
            <ac:picMk id="2" creationId="{0CF5EBAE-D810-4D5D-F9B7-890EF6F4F520}"/>
          </ac:picMkLst>
        </pc:picChg>
        <pc:picChg chg="del">
          <ac:chgData name="Thomas Stensitzki" userId="75cafe6b-2f2a-469b-85c4-eec3b9c972ba" providerId="ADAL" clId="{38265734-310D-45C8-99C3-9326DBD1A9F5}" dt="2023-07-04T17:41:01.518" v="884" actId="478"/>
          <ac:picMkLst>
            <pc:docMk/>
            <pc:sldMk cId="4175667725" sldId="754"/>
            <ac:picMk id="3074" creationId="{FD99560C-CCF0-E12A-FEAC-0817DE972DEC}"/>
          </ac:picMkLst>
        </pc:picChg>
      </pc:sldChg>
      <pc:sldChg chg="add modTransition">
        <pc:chgData name="Thomas Stensitzki" userId="75cafe6b-2f2a-469b-85c4-eec3b9c972ba" providerId="ADAL" clId="{38265734-310D-45C8-99C3-9326DBD1A9F5}" dt="2023-07-06T09:12:47.870" v="1675"/>
        <pc:sldMkLst>
          <pc:docMk/>
          <pc:sldMk cId="2580803171" sldId="755"/>
        </pc:sldMkLst>
      </pc:sldChg>
      <pc:sldChg chg="modTransition">
        <pc:chgData name="Thomas Stensitzki" userId="75cafe6b-2f2a-469b-85c4-eec3b9c972ba" providerId="ADAL" clId="{38265734-310D-45C8-99C3-9326DBD1A9F5}" dt="2023-07-06T09:12:47.870" v="1675"/>
        <pc:sldMkLst>
          <pc:docMk/>
          <pc:sldMk cId="3441249704" sldId="756"/>
        </pc:sldMkLst>
      </pc:sldChg>
      <pc:sldChg chg="modTransition">
        <pc:chgData name="Thomas Stensitzki" userId="75cafe6b-2f2a-469b-85c4-eec3b9c972ba" providerId="ADAL" clId="{38265734-310D-45C8-99C3-9326DBD1A9F5}" dt="2023-07-06T09:12:47.870" v="1675"/>
        <pc:sldMkLst>
          <pc:docMk/>
          <pc:sldMk cId="2120421256" sldId="757"/>
        </pc:sldMkLst>
      </pc:sldChg>
      <pc:sldChg chg="modTransition">
        <pc:chgData name="Thomas Stensitzki" userId="75cafe6b-2f2a-469b-85c4-eec3b9c972ba" providerId="ADAL" clId="{38265734-310D-45C8-99C3-9326DBD1A9F5}" dt="2023-07-06T09:12:47.870" v="1675"/>
        <pc:sldMkLst>
          <pc:docMk/>
          <pc:sldMk cId="3538299181" sldId="758"/>
        </pc:sldMkLst>
      </pc:sldChg>
      <pc:sldChg chg="modTransition">
        <pc:chgData name="Thomas Stensitzki" userId="75cafe6b-2f2a-469b-85c4-eec3b9c972ba" providerId="ADAL" clId="{38265734-310D-45C8-99C3-9326DBD1A9F5}" dt="2023-07-06T09:12:47.870" v="1675"/>
        <pc:sldMkLst>
          <pc:docMk/>
          <pc:sldMk cId="2253260559" sldId="759"/>
        </pc:sldMkLst>
      </pc:sldChg>
      <pc:sldChg chg="modTransition">
        <pc:chgData name="Thomas Stensitzki" userId="75cafe6b-2f2a-469b-85c4-eec3b9c972ba" providerId="ADAL" clId="{38265734-310D-45C8-99C3-9326DBD1A9F5}" dt="2023-07-06T09:12:47.870" v="1675"/>
        <pc:sldMkLst>
          <pc:docMk/>
          <pc:sldMk cId="3932105883" sldId="760"/>
        </pc:sldMkLst>
      </pc:sldChg>
      <pc:sldChg chg="modTransition">
        <pc:chgData name="Thomas Stensitzki" userId="75cafe6b-2f2a-469b-85c4-eec3b9c972ba" providerId="ADAL" clId="{38265734-310D-45C8-99C3-9326DBD1A9F5}" dt="2023-07-06T09:12:47.870" v="1675"/>
        <pc:sldMkLst>
          <pc:docMk/>
          <pc:sldMk cId="3362652068" sldId="761"/>
        </pc:sldMkLst>
      </pc:sldChg>
      <pc:sldChg chg="addSp delSp modSp new mod modTransition modClrScheme chgLayout">
        <pc:chgData name="Thomas Stensitzki" userId="75cafe6b-2f2a-469b-85c4-eec3b9c972ba" providerId="ADAL" clId="{38265734-310D-45C8-99C3-9326DBD1A9F5}" dt="2023-07-06T09:12:47.870" v="1675"/>
        <pc:sldMkLst>
          <pc:docMk/>
          <pc:sldMk cId="1155620625" sldId="762"/>
        </pc:sldMkLst>
        <pc:spChg chg="del mod ord">
          <ac:chgData name="Thomas Stensitzki" userId="75cafe6b-2f2a-469b-85c4-eec3b9c972ba" providerId="ADAL" clId="{38265734-310D-45C8-99C3-9326DBD1A9F5}" dt="2023-07-06T06:46:57.787" v="958" actId="700"/>
          <ac:spMkLst>
            <pc:docMk/>
            <pc:sldMk cId="1155620625" sldId="762"/>
            <ac:spMk id="2" creationId="{2C2B5365-5E67-6ECB-A2C1-CC6B48616B6E}"/>
          </ac:spMkLst>
        </pc:spChg>
        <pc:spChg chg="del mod ord">
          <ac:chgData name="Thomas Stensitzki" userId="75cafe6b-2f2a-469b-85c4-eec3b9c972ba" providerId="ADAL" clId="{38265734-310D-45C8-99C3-9326DBD1A9F5}" dt="2023-07-06T06:46:57.787" v="958" actId="700"/>
          <ac:spMkLst>
            <pc:docMk/>
            <pc:sldMk cId="1155620625" sldId="762"/>
            <ac:spMk id="3" creationId="{AD2297F8-AD75-4FE1-9A6E-B37664901DCE}"/>
          </ac:spMkLst>
        </pc:spChg>
        <pc:spChg chg="add mod ord">
          <ac:chgData name="Thomas Stensitzki" userId="75cafe6b-2f2a-469b-85c4-eec3b9c972ba" providerId="ADAL" clId="{38265734-310D-45C8-99C3-9326DBD1A9F5}" dt="2023-07-06T06:58:02.330" v="1036" actId="20577"/>
          <ac:spMkLst>
            <pc:docMk/>
            <pc:sldMk cId="1155620625" sldId="762"/>
            <ac:spMk id="4" creationId="{22178338-04CE-D0ED-FF1C-006DA86C3465}"/>
          </ac:spMkLst>
        </pc:spChg>
        <pc:spChg chg="add del mod ord">
          <ac:chgData name="Thomas Stensitzki" userId="75cafe6b-2f2a-469b-85c4-eec3b9c972ba" providerId="ADAL" clId="{38265734-310D-45C8-99C3-9326DBD1A9F5}" dt="2023-07-06T06:58:42.041" v="1039"/>
          <ac:spMkLst>
            <pc:docMk/>
            <pc:sldMk cId="1155620625" sldId="762"/>
            <ac:spMk id="5" creationId="{E051A96C-66E0-5823-6CCB-1AD57472AD68}"/>
          </ac:spMkLst>
        </pc:spChg>
        <pc:spChg chg="add del mod">
          <ac:chgData name="Thomas Stensitzki" userId="75cafe6b-2f2a-469b-85c4-eec3b9c972ba" providerId="ADAL" clId="{38265734-310D-45C8-99C3-9326DBD1A9F5}" dt="2023-07-06T06:47:44.974" v="960"/>
          <ac:spMkLst>
            <pc:docMk/>
            <pc:sldMk cId="1155620625" sldId="762"/>
            <ac:spMk id="6" creationId="{75345CCC-37A2-F68F-4871-4B66E28D2250}"/>
          </ac:spMkLst>
        </pc:spChg>
        <pc:picChg chg="add del mod">
          <ac:chgData name="Thomas Stensitzki" userId="75cafe6b-2f2a-469b-85c4-eec3b9c972ba" providerId="ADAL" clId="{38265734-310D-45C8-99C3-9326DBD1A9F5}" dt="2023-07-06T06:51:41.896" v="970" actId="478"/>
          <ac:picMkLst>
            <pc:docMk/>
            <pc:sldMk cId="1155620625" sldId="762"/>
            <ac:picMk id="8" creationId="{7B906823-1E03-0CBC-BAC4-8A9CD644AE8E}"/>
          </ac:picMkLst>
        </pc:picChg>
      </pc:sldChg>
      <pc:sldChg chg="modSp new mod modTransition">
        <pc:chgData name="Thomas Stensitzki" userId="75cafe6b-2f2a-469b-85c4-eec3b9c972ba" providerId="ADAL" clId="{38265734-310D-45C8-99C3-9326DBD1A9F5}" dt="2023-07-06T09:12:47.870" v="1675"/>
        <pc:sldMkLst>
          <pc:docMk/>
          <pc:sldMk cId="2162106461" sldId="763"/>
        </pc:sldMkLst>
        <pc:spChg chg="mod">
          <ac:chgData name="Thomas Stensitzki" userId="75cafe6b-2f2a-469b-85c4-eec3b9c972ba" providerId="ADAL" clId="{38265734-310D-45C8-99C3-9326DBD1A9F5}" dt="2023-07-06T07:41:29.925" v="1080" actId="20577"/>
          <ac:spMkLst>
            <pc:docMk/>
            <pc:sldMk cId="2162106461" sldId="763"/>
            <ac:spMk id="2" creationId="{D65474EA-1930-D05E-93DF-5737D75B5E13}"/>
          </ac:spMkLst>
        </pc:spChg>
        <pc:spChg chg="mod">
          <ac:chgData name="Thomas Stensitzki" userId="75cafe6b-2f2a-469b-85c4-eec3b9c972ba" providerId="ADAL" clId="{38265734-310D-45C8-99C3-9326DBD1A9F5}" dt="2023-07-06T07:14:24.263" v="1062" actId="20577"/>
          <ac:spMkLst>
            <pc:docMk/>
            <pc:sldMk cId="2162106461" sldId="763"/>
            <ac:spMk id="3" creationId="{8EEB6D6D-3A83-0B23-CA93-4211B33EC39E}"/>
          </ac:spMkLst>
        </pc:spChg>
      </pc:sldChg>
      <pc:sldChg chg="addSp modSp new mod modTransition">
        <pc:chgData name="Thomas Stensitzki" userId="75cafe6b-2f2a-469b-85c4-eec3b9c972ba" providerId="ADAL" clId="{38265734-310D-45C8-99C3-9326DBD1A9F5}" dt="2023-07-06T09:12:47.870" v="1675"/>
        <pc:sldMkLst>
          <pc:docMk/>
          <pc:sldMk cId="3624400259" sldId="764"/>
        </pc:sldMkLst>
        <pc:spChg chg="mod">
          <ac:chgData name="Thomas Stensitzki" userId="75cafe6b-2f2a-469b-85c4-eec3b9c972ba" providerId="ADAL" clId="{38265734-310D-45C8-99C3-9326DBD1A9F5}" dt="2023-07-06T08:04:31.603" v="1114" actId="20577"/>
          <ac:spMkLst>
            <pc:docMk/>
            <pc:sldMk cId="3624400259" sldId="764"/>
            <ac:spMk id="2" creationId="{AD1CE879-8D87-67A0-53DD-46746B68136E}"/>
          </ac:spMkLst>
        </pc:spChg>
        <pc:spChg chg="mod">
          <ac:chgData name="Thomas Stensitzki" userId="75cafe6b-2f2a-469b-85c4-eec3b9c972ba" providerId="ADAL" clId="{38265734-310D-45C8-99C3-9326DBD1A9F5}" dt="2023-07-06T07:54:43.393" v="1083"/>
          <ac:spMkLst>
            <pc:docMk/>
            <pc:sldMk cId="3624400259" sldId="764"/>
            <ac:spMk id="3" creationId="{FAE178F3-E203-E1A9-2C9D-998248BD6EC7}"/>
          </ac:spMkLst>
        </pc:spChg>
        <pc:picChg chg="add mod">
          <ac:chgData name="Thomas Stensitzki" userId="75cafe6b-2f2a-469b-85c4-eec3b9c972ba" providerId="ADAL" clId="{38265734-310D-45C8-99C3-9326DBD1A9F5}" dt="2023-07-06T07:58:13.868" v="1088" actId="1076"/>
          <ac:picMkLst>
            <pc:docMk/>
            <pc:sldMk cId="3624400259" sldId="764"/>
            <ac:picMk id="4" creationId="{01736D4E-DDE5-BFAC-4614-402467C5B816}"/>
          </ac:picMkLst>
        </pc:picChg>
      </pc:sldChg>
      <pc:sldChg chg="addSp modSp new mod modTransition">
        <pc:chgData name="Thomas Stensitzki" userId="75cafe6b-2f2a-469b-85c4-eec3b9c972ba" providerId="ADAL" clId="{38265734-310D-45C8-99C3-9326DBD1A9F5}" dt="2023-07-06T09:12:47.870" v="1675"/>
        <pc:sldMkLst>
          <pc:docMk/>
          <pc:sldMk cId="4177790355" sldId="765"/>
        </pc:sldMkLst>
        <pc:spChg chg="mod">
          <ac:chgData name="Thomas Stensitzki" userId="75cafe6b-2f2a-469b-85c4-eec3b9c972ba" providerId="ADAL" clId="{38265734-310D-45C8-99C3-9326DBD1A9F5}" dt="2023-07-06T08:05:11.742" v="1127" actId="20577"/>
          <ac:spMkLst>
            <pc:docMk/>
            <pc:sldMk cId="4177790355" sldId="765"/>
            <ac:spMk id="2" creationId="{68DC01E6-67C6-E7B2-85C9-7B6197F3930F}"/>
          </ac:spMkLst>
        </pc:spChg>
        <pc:spChg chg="mod">
          <ac:chgData name="Thomas Stensitzki" userId="75cafe6b-2f2a-469b-85c4-eec3b9c972ba" providerId="ADAL" clId="{38265734-310D-45C8-99C3-9326DBD1A9F5}" dt="2023-07-06T08:10:00.357" v="1157" actId="20577"/>
          <ac:spMkLst>
            <pc:docMk/>
            <pc:sldMk cId="4177790355" sldId="765"/>
            <ac:spMk id="3" creationId="{C260379D-7083-9ABA-F7E6-FDDD1E4A3196}"/>
          </ac:spMkLst>
        </pc:spChg>
        <pc:graphicFrameChg chg="add mod modGraphic">
          <ac:chgData name="Thomas Stensitzki" userId="75cafe6b-2f2a-469b-85c4-eec3b9c972ba" providerId="ADAL" clId="{38265734-310D-45C8-99C3-9326DBD1A9F5}" dt="2023-07-06T08:08:56.666" v="1154" actId="114"/>
          <ac:graphicFrameMkLst>
            <pc:docMk/>
            <pc:sldMk cId="4177790355" sldId="765"/>
            <ac:graphicFrameMk id="4" creationId="{2229A603-5C3C-5755-565B-E34E2A37DFC8}"/>
          </ac:graphicFrameMkLst>
        </pc:graphicFrameChg>
      </pc:sldChg>
      <pc:sldChg chg="addSp modSp new mod modTransition">
        <pc:chgData name="Thomas Stensitzki" userId="75cafe6b-2f2a-469b-85c4-eec3b9c972ba" providerId="ADAL" clId="{38265734-310D-45C8-99C3-9326DBD1A9F5}" dt="2023-07-06T09:12:47.870" v="1675"/>
        <pc:sldMkLst>
          <pc:docMk/>
          <pc:sldMk cId="2406853124" sldId="766"/>
        </pc:sldMkLst>
        <pc:spChg chg="mod">
          <ac:chgData name="Thomas Stensitzki" userId="75cafe6b-2f2a-469b-85c4-eec3b9c972ba" providerId="ADAL" clId="{38265734-310D-45C8-99C3-9326DBD1A9F5}" dt="2023-07-06T08:59:15.084" v="1169" actId="20577"/>
          <ac:spMkLst>
            <pc:docMk/>
            <pc:sldMk cId="2406853124" sldId="766"/>
            <ac:spMk id="2" creationId="{D64CBA17-64C8-8015-F12B-ECB6F583EE65}"/>
          </ac:spMkLst>
        </pc:spChg>
        <pc:spChg chg="mod">
          <ac:chgData name="Thomas Stensitzki" userId="75cafe6b-2f2a-469b-85c4-eec3b9c972ba" providerId="ADAL" clId="{38265734-310D-45C8-99C3-9326DBD1A9F5}" dt="2023-07-06T08:27:59.523" v="1160"/>
          <ac:spMkLst>
            <pc:docMk/>
            <pc:sldMk cId="2406853124" sldId="766"/>
            <ac:spMk id="3" creationId="{FB28A2E7-59D3-1BE2-6688-FDDB51677FC4}"/>
          </ac:spMkLst>
        </pc:spChg>
        <pc:picChg chg="add mod">
          <ac:chgData name="Thomas Stensitzki" userId="75cafe6b-2f2a-469b-85c4-eec3b9c972ba" providerId="ADAL" clId="{38265734-310D-45C8-99C3-9326DBD1A9F5}" dt="2023-07-06T08:53:09.511" v="1164" actId="1440"/>
          <ac:picMkLst>
            <pc:docMk/>
            <pc:sldMk cId="2406853124" sldId="766"/>
            <ac:picMk id="3074" creationId="{E6422EC6-6E4A-6054-F1B7-D102B94342B1}"/>
          </ac:picMkLst>
        </pc:picChg>
      </pc:sldChg>
      <pc:sldChg chg="addSp modSp new mod modTransition">
        <pc:chgData name="Thomas Stensitzki" userId="75cafe6b-2f2a-469b-85c4-eec3b9c972ba" providerId="ADAL" clId="{38265734-310D-45C8-99C3-9326DBD1A9F5}" dt="2023-07-06T09:12:47.870" v="1675"/>
        <pc:sldMkLst>
          <pc:docMk/>
          <pc:sldMk cId="2531410684" sldId="767"/>
        </pc:sldMkLst>
        <pc:spChg chg="mod">
          <ac:chgData name="Thomas Stensitzki" userId="75cafe6b-2f2a-469b-85c4-eec3b9c972ba" providerId="ADAL" clId="{38265734-310D-45C8-99C3-9326DBD1A9F5}" dt="2023-07-06T09:09:39.506" v="1659" actId="20577"/>
          <ac:spMkLst>
            <pc:docMk/>
            <pc:sldMk cId="2531410684" sldId="767"/>
            <ac:spMk id="2" creationId="{C9118AC6-BF00-F8E7-CDF7-FB12719CD258}"/>
          </ac:spMkLst>
        </pc:spChg>
        <pc:spChg chg="mod">
          <ac:chgData name="Thomas Stensitzki" userId="75cafe6b-2f2a-469b-85c4-eec3b9c972ba" providerId="ADAL" clId="{38265734-310D-45C8-99C3-9326DBD1A9F5}" dt="2023-07-06T09:11:13.535" v="1661" actId="20577"/>
          <ac:spMkLst>
            <pc:docMk/>
            <pc:sldMk cId="2531410684" sldId="767"/>
            <ac:spMk id="3" creationId="{70DB79B1-19BF-63CD-1706-76AC0DCE083A}"/>
          </ac:spMkLst>
        </pc:spChg>
        <pc:spChg chg="add mod">
          <ac:chgData name="Thomas Stensitzki" userId="75cafe6b-2f2a-469b-85c4-eec3b9c972ba" providerId="ADAL" clId="{38265734-310D-45C8-99C3-9326DBD1A9F5}" dt="2023-07-06T09:11:47.054" v="1667" actId="1076"/>
          <ac:spMkLst>
            <pc:docMk/>
            <pc:sldMk cId="2531410684" sldId="767"/>
            <ac:spMk id="6" creationId="{F8D64169-68E5-6887-9282-25E78AEAC325}"/>
          </ac:spMkLst>
        </pc:spChg>
        <pc:picChg chg="add mod">
          <ac:chgData name="Thomas Stensitzki" userId="75cafe6b-2f2a-469b-85c4-eec3b9c972ba" providerId="ADAL" clId="{38265734-310D-45C8-99C3-9326DBD1A9F5}" dt="2023-07-06T09:11:25.016" v="1664" actId="1440"/>
          <ac:picMkLst>
            <pc:docMk/>
            <pc:sldMk cId="2531410684" sldId="767"/>
            <ac:picMk id="5" creationId="{804A7342-5EA9-BACE-FEC8-F52398F72C24}"/>
          </ac:picMkLst>
        </pc:picChg>
      </pc:sldChg>
      <pc:sldChg chg="add modTransition">
        <pc:chgData name="Thomas Stensitzki" userId="75cafe6b-2f2a-469b-85c4-eec3b9c972ba" providerId="ADAL" clId="{38265734-310D-45C8-99C3-9326DBD1A9F5}" dt="2023-07-06T09:12:47.870" v="1675"/>
        <pc:sldMkLst>
          <pc:docMk/>
          <pc:sldMk cId="466978322" sldId="768"/>
        </pc:sldMkLst>
      </pc:sldChg>
      <pc:sldChg chg="addSp delSp modSp add mod modTransition">
        <pc:chgData name="Thomas Stensitzki" userId="75cafe6b-2f2a-469b-85c4-eec3b9c972ba" providerId="ADAL" clId="{38265734-310D-45C8-99C3-9326DBD1A9F5}" dt="2023-07-06T09:12:47.870" v="1675"/>
        <pc:sldMkLst>
          <pc:docMk/>
          <pc:sldMk cId="3413044843" sldId="769"/>
        </pc:sldMkLst>
        <pc:spChg chg="del">
          <ac:chgData name="Thomas Stensitzki" userId="75cafe6b-2f2a-469b-85c4-eec3b9c972ba" providerId="ADAL" clId="{38265734-310D-45C8-99C3-9326DBD1A9F5}" dt="2023-07-06T09:12:15.501" v="1670" actId="478"/>
          <ac:spMkLst>
            <pc:docMk/>
            <pc:sldMk cId="3413044843" sldId="769"/>
            <ac:spMk id="6" creationId="{F8D64169-68E5-6887-9282-25E78AEAC325}"/>
          </ac:spMkLst>
        </pc:spChg>
        <pc:spChg chg="add del">
          <ac:chgData name="Thomas Stensitzki" userId="75cafe6b-2f2a-469b-85c4-eec3b9c972ba" providerId="ADAL" clId="{38265734-310D-45C8-99C3-9326DBD1A9F5}" dt="2023-07-06T09:12:18.468" v="1672" actId="22"/>
          <ac:spMkLst>
            <pc:docMk/>
            <pc:sldMk cId="3413044843" sldId="769"/>
            <ac:spMk id="7" creationId="{6C88EE93-C845-6C9E-4400-AE43A5B0FC21}"/>
          </ac:spMkLst>
        </pc:spChg>
        <pc:picChg chg="del">
          <ac:chgData name="Thomas Stensitzki" userId="75cafe6b-2f2a-469b-85c4-eec3b9c972ba" providerId="ADAL" clId="{38265734-310D-45C8-99C3-9326DBD1A9F5}" dt="2023-07-06T09:12:14.606" v="1669" actId="478"/>
          <ac:picMkLst>
            <pc:docMk/>
            <pc:sldMk cId="3413044843" sldId="769"/>
            <ac:picMk id="5" creationId="{804A7342-5EA9-BACE-FEC8-F52398F72C24}"/>
          </ac:picMkLst>
        </pc:picChg>
        <pc:picChg chg="add mod">
          <ac:chgData name="Thomas Stensitzki" userId="75cafe6b-2f2a-469b-85c4-eec3b9c972ba" providerId="ADAL" clId="{38265734-310D-45C8-99C3-9326DBD1A9F5}" dt="2023-07-06T09:12:33.527" v="1674" actId="14100"/>
          <ac:picMkLst>
            <pc:docMk/>
            <pc:sldMk cId="3413044843" sldId="769"/>
            <ac:picMk id="4098" creationId="{3CB8A4F7-7A2A-770C-21FF-A256E4720E03}"/>
          </ac:picMkLst>
        </pc:picChg>
      </pc:sldChg>
      <pc:sldChg chg="modSp new mod">
        <pc:chgData name="Thomas Stensitzki" userId="75cafe6b-2f2a-469b-85c4-eec3b9c972ba" providerId="ADAL" clId="{38265734-310D-45C8-99C3-9326DBD1A9F5}" dt="2023-07-06T11:28:23.634" v="1729" actId="20577"/>
        <pc:sldMkLst>
          <pc:docMk/>
          <pc:sldMk cId="679298916" sldId="770"/>
        </pc:sldMkLst>
        <pc:spChg chg="mod">
          <ac:chgData name="Thomas Stensitzki" userId="75cafe6b-2f2a-469b-85c4-eec3b9c972ba" providerId="ADAL" clId="{38265734-310D-45C8-99C3-9326DBD1A9F5}" dt="2023-07-06T11:28:23.634" v="1729" actId="20577"/>
          <ac:spMkLst>
            <pc:docMk/>
            <pc:sldMk cId="679298916" sldId="770"/>
            <ac:spMk id="2" creationId="{85452FCA-968B-B860-955D-8E5FBBDEE6BB}"/>
          </ac:spMkLst>
        </pc:spChg>
        <pc:spChg chg="mod">
          <ac:chgData name="Thomas Stensitzki" userId="75cafe6b-2f2a-469b-85c4-eec3b9c972ba" providerId="ADAL" clId="{38265734-310D-45C8-99C3-9326DBD1A9F5}" dt="2023-07-06T11:26:58.702" v="1718"/>
          <ac:spMkLst>
            <pc:docMk/>
            <pc:sldMk cId="679298916" sldId="770"/>
            <ac:spMk id="3" creationId="{FC9FE975-560B-7F8C-CA40-1CB0104E219F}"/>
          </ac:spMkLst>
        </pc:spChg>
      </pc:sldChg>
      <pc:sldChg chg="modSp new mod">
        <pc:chgData name="Thomas Stensitzki" userId="75cafe6b-2f2a-469b-85c4-eec3b9c972ba" providerId="ADAL" clId="{38265734-310D-45C8-99C3-9326DBD1A9F5}" dt="2023-07-06T11:40:51.483" v="1733" actId="20577"/>
        <pc:sldMkLst>
          <pc:docMk/>
          <pc:sldMk cId="1476531" sldId="771"/>
        </pc:sldMkLst>
        <pc:spChg chg="mod">
          <ac:chgData name="Thomas Stensitzki" userId="75cafe6b-2f2a-469b-85c4-eec3b9c972ba" providerId="ADAL" clId="{38265734-310D-45C8-99C3-9326DBD1A9F5}" dt="2023-07-06T11:40:51.483" v="1733" actId="20577"/>
          <ac:spMkLst>
            <pc:docMk/>
            <pc:sldMk cId="1476531" sldId="771"/>
            <ac:spMk id="3" creationId="{693B2707-9A38-03EB-2424-5942ACB67B30}"/>
          </ac:spMkLst>
        </pc:spChg>
      </pc:sldChg>
    </pc:docChg>
  </pc:docChgLst>
  <pc:docChgLst>
    <pc:chgData name="Thomas Stensitzki" userId="75cafe6b-2f2a-469b-85c4-eec3b9c972ba" providerId="ADAL" clId="{BE8F4EE5-CF52-46AD-A386-2ADC59A29254}"/>
    <pc:docChg chg="modSld">
      <pc:chgData name="Thomas Stensitzki" userId="75cafe6b-2f2a-469b-85c4-eec3b9c972ba" providerId="ADAL" clId="{BE8F4EE5-CF52-46AD-A386-2ADC59A29254}" dt="2021-02-04T16:39:39.722" v="6"/>
      <pc:docMkLst>
        <pc:docMk/>
      </pc:docMkLst>
      <pc:sldChg chg="modSp mod">
        <pc:chgData name="Thomas Stensitzki" userId="75cafe6b-2f2a-469b-85c4-eec3b9c972ba" providerId="ADAL" clId="{BE8F4EE5-CF52-46AD-A386-2ADC59A29254}" dt="2021-02-04T16:39:39.722" v="6"/>
        <pc:sldMkLst>
          <pc:docMk/>
          <pc:sldMk cId="2855324227" sldId="257"/>
        </pc:sldMkLst>
        <pc:graphicFrameChg chg="mod modGraphic">
          <ac:chgData name="Thomas Stensitzki" userId="75cafe6b-2f2a-469b-85c4-eec3b9c972ba" providerId="ADAL" clId="{BE8F4EE5-CF52-46AD-A386-2ADC59A29254}" dt="2021-02-04T16:39:39.722" v="6"/>
          <ac:graphicFrameMkLst>
            <pc:docMk/>
            <pc:sldMk cId="2855324227" sldId="257"/>
            <ac:graphicFrameMk id="6" creationId="{0F955DCC-462D-431D-BBDE-26F10687D590}"/>
          </ac:graphicFrameMkLst>
        </pc:graphicFrameChg>
      </pc:sldChg>
    </pc:docChg>
  </pc:docChgLst>
  <pc:docChgLst>
    <pc:chgData name="Thomas Stensitzki" userId="S::thomas.stensitzki@granikos.eu::75cafe6b-2f2a-469b-85c4-eec3b9c972ba" providerId="AD" clId="Web-{9A4CCA33-46F4-1FAD-A33E-B3E115A869B5}"/>
    <pc:docChg chg="addSld modSld sldOrd modSection">
      <pc:chgData name="Thomas Stensitzki" userId="S::thomas.stensitzki@granikos.eu::75cafe6b-2f2a-469b-85c4-eec3b9c972ba" providerId="AD" clId="Web-{9A4CCA33-46F4-1FAD-A33E-B3E115A869B5}" dt="2023-07-05T07:32:39.185" v="21" actId="1076"/>
      <pc:docMkLst>
        <pc:docMk/>
      </pc:docMkLst>
      <pc:sldChg chg="modSp">
        <pc:chgData name="Thomas Stensitzki" userId="S::thomas.stensitzki@granikos.eu::75cafe6b-2f2a-469b-85c4-eec3b9c972ba" providerId="AD" clId="Web-{9A4CCA33-46F4-1FAD-A33E-B3E115A869B5}" dt="2023-07-05T07:30:39.757" v="0" actId="14100"/>
        <pc:sldMkLst>
          <pc:docMk/>
          <pc:sldMk cId="2227487991" sldId="378"/>
        </pc:sldMkLst>
        <pc:spChg chg="mod">
          <ac:chgData name="Thomas Stensitzki" userId="S::thomas.stensitzki@granikos.eu::75cafe6b-2f2a-469b-85c4-eec3b9c972ba" providerId="AD" clId="Web-{9A4CCA33-46F4-1FAD-A33E-B3E115A869B5}" dt="2023-07-05T07:30:39.757" v="0" actId="14100"/>
          <ac:spMkLst>
            <pc:docMk/>
            <pc:sldMk cId="2227487991" sldId="378"/>
            <ac:spMk id="2" creationId="{909DC09D-B9A6-4493-9A72-1CA7ECB1F5CA}"/>
          </ac:spMkLst>
        </pc:spChg>
      </pc:sldChg>
      <pc:sldChg chg="modSp add ord replId">
        <pc:chgData name="Thomas Stensitzki" userId="S::thomas.stensitzki@granikos.eu::75cafe6b-2f2a-469b-85c4-eec3b9c972ba" providerId="AD" clId="Web-{9A4CCA33-46F4-1FAD-A33E-B3E115A869B5}" dt="2023-07-05T07:30:59.852" v="4" actId="14100"/>
        <pc:sldMkLst>
          <pc:docMk/>
          <pc:sldMk cId="3441249704" sldId="756"/>
        </pc:sldMkLst>
        <pc:spChg chg="mod">
          <ac:chgData name="Thomas Stensitzki" userId="S::thomas.stensitzki@granikos.eu::75cafe6b-2f2a-469b-85c4-eec3b9c972ba" providerId="AD" clId="Web-{9A4CCA33-46F4-1FAD-A33E-B3E115A869B5}" dt="2023-07-05T07:30:59.852" v="4" actId="14100"/>
          <ac:spMkLst>
            <pc:docMk/>
            <pc:sldMk cId="3441249704" sldId="756"/>
            <ac:spMk id="2" creationId="{909DC09D-B9A6-4493-9A72-1CA7ECB1F5CA}"/>
          </ac:spMkLst>
        </pc:spChg>
      </pc:sldChg>
      <pc:sldChg chg="modSp add ord replId">
        <pc:chgData name="Thomas Stensitzki" userId="S::thomas.stensitzki@granikos.eu::75cafe6b-2f2a-469b-85c4-eec3b9c972ba" providerId="AD" clId="Web-{9A4CCA33-46F4-1FAD-A33E-B3E115A869B5}" dt="2023-07-05T07:31:17.775" v="7" actId="1076"/>
        <pc:sldMkLst>
          <pc:docMk/>
          <pc:sldMk cId="2120421256" sldId="757"/>
        </pc:sldMkLst>
        <pc:spChg chg="mod">
          <ac:chgData name="Thomas Stensitzki" userId="S::thomas.stensitzki@granikos.eu::75cafe6b-2f2a-469b-85c4-eec3b9c972ba" providerId="AD" clId="Web-{9A4CCA33-46F4-1FAD-A33E-B3E115A869B5}" dt="2023-07-05T07:31:17.775" v="7" actId="1076"/>
          <ac:spMkLst>
            <pc:docMk/>
            <pc:sldMk cId="2120421256" sldId="757"/>
            <ac:spMk id="2" creationId="{909DC09D-B9A6-4493-9A72-1CA7ECB1F5CA}"/>
          </ac:spMkLst>
        </pc:spChg>
      </pc:sldChg>
      <pc:sldChg chg="modSp add ord replId">
        <pc:chgData name="Thomas Stensitzki" userId="S::thomas.stensitzki@granikos.eu::75cafe6b-2f2a-469b-85c4-eec3b9c972ba" providerId="AD" clId="Web-{9A4CCA33-46F4-1FAD-A33E-B3E115A869B5}" dt="2023-07-05T07:31:30.776" v="10" actId="1076"/>
        <pc:sldMkLst>
          <pc:docMk/>
          <pc:sldMk cId="3538299181" sldId="758"/>
        </pc:sldMkLst>
        <pc:spChg chg="mod">
          <ac:chgData name="Thomas Stensitzki" userId="S::thomas.stensitzki@granikos.eu::75cafe6b-2f2a-469b-85c4-eec3b9c972ba" providerId="AD" clId="Web-{9A4CCA33-46F4-1FAD-A33E-B3E115A869B5}" dt="2023-07-05T07:31:30.776" v="10" actId="1076"/>
          <ac:spMkLst>
            <pc:docMk/>
            <pc:sldMk cId="3538299181" sldId="758"/>
            <ac:spMk id="2" creationId="{909DC09D-B9A6-4493-9A72-1CA7ECB1F5CA}"/>
          </ac:spMkLst>
        </pc:spChg>
      </pc:sldChg>
      <pc:sldChg chg="modSp add ord replId">
        <pc:chgData name="Thomas Stensitzki" userId="S::thomas.stensitzki@granikos.eu::75cafe6b-2f2a-469b-85c4-eec3b9c972ba" providerId="AD" clId="Web-{9A4CCA33-46F4-1FAD-A33E-B3E115A869B5}" dt="2023-07-05T07:31:59.840" v="14" actId="14100"/>
        <pc:sldMkLst>
          <pc:docMk/>
          <pc:sldMk cId="2253260559" sldId="759"/>
        </pc:sldMkLst>
        <pc:spChg chg="mod">
          <ac:chgData name="Thomas Stensitzki" userId="S::thomas.stensitzki@granikos.eu::75cafe6b-2f2a-469b-85c4-eec3b9c972ba" providerId="AD" clId="Web-{9A4CCA33-46F4-1FAD-A33E-B3E115A869B5}" dt="2023-07-05T07:31:59.840" v="14" actId="14100"/>
          <ac:spMkLst>
            <pc:docMk/>
            <pc:sldMk cId="2253260559" sldId="759"/>
            <ac:spMk id="2" creationId="{909DC09D-B9A6-4493-9A72-1CA7ECB1F5CA}"/>
          </ac:spMkLst>
        </pc:spChg>
      </pc:sldChg>
      <pc:sldChg chg="modSp add ord replId">
        <pc:chgData name="Thomas Stensitzki" userId="S::thomas.stensitzki@granikos.eu::75cafe6b-2f2a-469b-85c4-eec3b9c972ba" providerId="AD" clId="Web-{9A4CCA33-46F4-1FAD-A33E-B3E115A869B5}" dt="2023-07-05T07:32:17.872" v="18" actId="14100"/>
        <pc:sldMkLst>
          <pc:docMk/>
          <pc:sldMk cId="3932105883" sldId="760"/>
        </pc:sldMkLst>
        <pc:spChg chg="mod">
          <ac:chgData name="Thomas Stensitzki" userId="S::thomas.stensitzki@granikos.eu::75cafe6b-2f2a-469b-85c4-eec3b9c972ba" providerId="AD" clId="Web-{9A4CCA33-46F4-1FAD-A33E-B3E115A869B5}" dt="2023-07-05T07:32:17.872" v="18" actId="14100"/>
          <ac:spMkLst>
            <pc:docMk/>
            <pc:sldMk cId="3932105883" sldId="760"/>
            <ac:spMk id="2" creationId="{909DC09D-B9A6-4493-9A72-1CA7ECB1F5CA}"/>
          </ac:spMkLst>
        </pc:spChg>
      </pc:sldChg>
      <pc:sldChg chg="modSp add ord replId">
        <pc:chgData name="Thomas Stensitzki" userId="S::thomas.stensitzki@granikos.eu::75cafe6b-2f2a-469b-85c4-eec3b9c972ba" providerId="AD" clId="Web-{9A4CCA33-46F4-1FAD-A33E-B3E115A869B5}" dt="2023-07-05T07:32:39.185" v="21" actId="1076"/>
        <pc:sldMkLst>
          <pc:docMk/>
          <pc:sldMk cId="3362652068" sldId="761"/>
        </pc:sldMkLst>
        <pc:spChg chg="mod">
          <ac:chgData name="Thomas Stensitzki" userId="S::thomas.stensitzki@granikos.eu::75cafe6b-2f2a-469b-85c4-eec3b9c972ba" providerId="AD" clId="Web-{9A4CCA33-46F4-1FAD-A33E-B3E115A869B5}" dt="2023-07-05T07:32:39.185" v="21" actId="1076"/>
          <ac:spMkLst>
            <pc:docMk/>
            <pc:sldMk cId="3362652068" sldId="761"/>
            <ac:spMk id="2" creationId="{909DC09D-B9A6-4493-9A72-1CA7ECB1F5CA}"/>
          </ac:spMkLst>
        </pc:spChg>
      </pc:sldChg>
    </pc:docChg>
  </pc:docChgLst>
  <pc:docChgLst>
    <pc:chgData name="Thomas Stensitzki" userId="75cafe6b-2f2a-469b-85c4-eec3b9c972ba" providerId="ADAL" clId="{04798C56-1619-44FF-99CC-951BCBEDA3B6}"/>
    <pc:docChg chg="undo custSel addSld delSld modSld sldOrd addSection modSection">
      <pc:chgData name="Thomas Stensitzki" userId="75cafe6b-2f2a-469b-85c4-eec3b9c972ba" providerId="ADAL" clId="{04798C56-1619-44FF-99CC-951BCBEDA3B6}" dt="2021-10-24T11:56:50.744" v="5141" actId="20577"/>
      <pc:docMkLst>
        <pc:docMk/>
      </pc:docMkLst>
      <pc:sldChg chg="modSp mod">
        <pc:chgData name="Thomas Stensitzki" userId="75cafe6b-2f2a-469b-85c4-eec3b9c972ba" providerId="ADAL" clId="{04798C56-1619-44FF-99CC-951BCBEDA3B6}" dt="2021-10-16T08:06:48.501" v="11" actId="20577"/>
        <pc:sldMkLst>
          <pc:docMk/>
          <pc:sldMk cId="671489701" sldId="256"/>
        </pc:sldMkLst>
        <pc:spChg chg="mod">
          <ac:chgData name="Thomas Stensitzki" userId="75cafe6b-2f2a-469b-85c4-eec3b9c972ba" providerId="ADAL" clId="{04798C56-1619-44FF-99CC-951BCBEDA3B6}" dt="2021-10-16T08:06:48.501" v="11" actId="20577"/>
          <ac:spMkLst>
            <pc:docMk/>
            <pc:sldMk cId="671489701" sldId="256"/>
            <ac:spMk id="3" creationId="{CBA95633-B02D-4A15-A8B1-A38E0A70FD27}"/>
          </ac:spMkLst>
        </pc:spChg>
      </pc:sldChg>
      <pc:sldChg chg="modSp mod">
        <pc:chgData name="Thomas Stensitzki" userId="75cafe6b-2f2a-469b-85c4-eec3b9c972ba" providerId="ADAL" clId="{04798C56-1619-44FF-99CC-951BCBEDA3B6}" dt="2021-10-21T13:06:10.613" v="4427"/>
        <pc:sldMkLst>
          <pc:docMk/>
          <pc:sldMk cId="2855324227" sldId="257"/>
        </pc:sldMkLst>
        <pc:spChg chg="mod">
          <ac:chgData name="Thomas Stensitzki" userId="75cafe6b-2f2a-469b-85c4-eec3b9c972ba" providerId="ADAL" clId="{04798C56-1619-44FF-99CC-951BCBEDA3B6}" dt="2021-10-16T08:07:25.110" v="63" actId="20577"/>
          <ac:spMkLst>
            <pc:docMk/>
            <pc:sldMk cId="2855324227" sldId="257"/>
            <ac:spMk id="5" creationId="{EE6719E1-4DB6-4D58-BA77-937CF975247C}"/>
          </ac:spMkLst>
        </pc:spChg>
        <pc:graphicFrameChg chg="mod modGraphic">
          <ac:chgData name="Thomas Stensitzki" userId="75cafe6b-2f2a-469b-85c4-eec3b9c972ba" providerId="ADAL" clId="{04798C56-1619-44FF-99CC-951BCBEDA3B6}" dt="2021-10-21T13:06:10.613" v="4427"/>
          <ac:graphicFrameMkLst>
            <pc:docMk/>
            <pc:sldMk cId="2855324227" sldId="257"/>
            <ac:graphicFrameMk id="6" creationId="{0F955DCC-462D-431D-BBDE-26F10687D590}"/>
          </ac:graphicFrameMkLst>
        </pc:graphicFrameChg>
      </pc:sldChg>
      <pc:sldChg chg="modSp mod">
        <pc:chgData name="Thomas Stensitzki" userId="75cafe6b-2f2a-469b-85c4-eec3b9c972ba" providerId="ADAL" clId="{04798C56-1619-44FF-99CC-951BCBEDA3B6}" dt="2021-10-21T13:34:15.525" v="5128" actId="20577"/>
        <pc:sldMkLst>
          <pc:docMk/>
          <pc:sldMk cId="3332792154" sldId="258"/>
        </pc:sldMkLst>
        <pc:spChg chg="mod">
          <ac:chgData name="Thomas Stensitzki" userId="75cafe6b-2f2a-469b-85c4-eec3b9c972ba" providerId="ADAL" clId="{04798C56-1619-44FF-99CC-951BCBEDA3B6}" dt="2021-10-21T13:34:15.525" v="5128" actId="20577"/>
          <ac:spMkLst>
            <pc:docMk/>
            <pc:sldMk cId="3332792154" sldId="258"/>
            <ac:spMk id="3" creationId="{3A5A44EB-7FB9-473A-8ED3-C49DDD2E65AB}"/>
          </ac:spMkLst>
        </pc:spChg>
      </pc:sldChg>
      <pc:sldChg chg="delSp mod ord">
        <pc:chgData name="Thomas Stensitzki" userId="75cafe6b-2f2a-469b-85c4-eec3b9c972ba" providerId="ADAL" clId="{04798C56-1619-44FF-99CC-951BCBEDA3B6}" dt="2021-10-21T13:05:33.349" v="4423"/>
        <pc:sldMkLst>
          <pc:docMk/>
          <pc:sldMk cId="2698998357" sldId="260"/>
        </pc:sldMkLst>
        <pc:spChg chg="del">
          <ac:chgData name="Thomas Stensitzki" userId="75cafe6b-2f2a-469b-85c4-eec3b9c972ba" providerId="ADAL" clId="{04798C56-1619-44FF-99CC-951BCBEDA3B6}" dt="2021-10-16T08:29:25.765" v="179" actId="478"/>
          <ac:spMkLst>
            <pc:docMk/>
            <pc:sldMk cId="2698998357" sldId="260"/>
            <ac:spMk id="6" creationId="{AC7B595A-A4C5-4A86-B8F3-29469F0A7A0E}"/>
          </ac:spMkLst>
        </pc:spChg>
      </pc:sldChg>
      <pc:sldChg chg="modSp mod">
        <pc:chgData name="Thomas Stensitzki" userId="75cafe6b-2f2a-469b-85c4-eec3b9c972ba" providerId="ADAL" clId="{04798C56-1619-44FF-99CC-951BCBEDA3B6}" dt="2021-10-24T11:56:50.744" v="5141" actId="20577"/>
        <pc:sldMkLst>
          <pc:docMk/>
          <pc:sldMk cId="4007670073" sldId="268"/>
        </pc:sldMkLst>
        <pc:spChg chg="mod">
          <ac:chgData name="Thomas Stensitzki" userId="75cafe6b-2f2a-469b-85c4-eec3b9c972ba" providerId="ADAL" clId="{04798C56-1619-44FF-99CC-951BCBEDA3B6}" dt="2021-10-24T11:56:50.744" v="5141" actId="20577"/>
          <ac:spMkLst>
            <pc:docMk/>
            <pc:sldMk cId="4007670073" sldId="268"/>
            <ac:spMk id="5" creationId="{F3459BE7-1731-4733-A912-12977C68CFD6}"/>
          </ac:spMkLst>
        </pc:spChg>
      </pc:sldChg>
      <pc:sldChg chg="modSp mod">
        <pc:chgData name="Thomas Stensitzki" userId="75cafe6b-2f2a-469b-85c4-eec3b9c972ba" providerId="ADAL" clId="{04798C56-1619-44FF-99CC-951BCBEDA3B6}" dt="2021-10-18T07:06:30.752" v="4422" actId="6549"/>
        <pc:sldMkLst>
          <pc:docMk/>
          <pc:sldMk cId="2721051844" sldId="269"/>
        </pc:sldMkLst>
        <pc:spChg chg="mod">
          <ac:chgData name="Thomas Stensitzki" userId="75cafe6b-2f2a-469b-85c4-eec3b9c972ba" providerId="ADAL" clId="{04798C56-1619-44FF-99CC-951BCBEDA3B6}" dt="2021-10-18T07:06:30.752" v="4422" actId="6549"/>
          <ac:spMkLst>
            <pc:docMk/>
            <pc:sldMk cId="2721051844" sldId="269"/>
            <ac:spMk id="5" creationId="{C24DACB5-1BEC-4C86-9652-BAFD8DE56FEF}"/>
          </ac:spMkLst>
        </pc:spChg>
      </pc:sldChg>
      <pc:sldChg chg="modSp mod ord">
        <pc:chgData name="Thomas Stensitzki" userId="75cafe6b-2f2a-469b-85c4-eec3b9c972ba" providerId="ADAL" clId="{04798C56-1619-44FF-99CC-951BCBEDA3B6}" dt="2021-10-21T13:05:36.332" v="4424"/>
        <pc:sldMkLst>
          <pc:docMk/>
          <pc:sldMk cId="53967156" sldId="297"/>
        </pc:sldMkLst>
        <pc:spChg chg="mod">
          <ac:chgData name="Thomas Stensitzki" userId="75cafe6b-2f2a-469b-85c4-eec3b9c972ba" providerId="ADAL" clId="{04798C56-1619-44FF-99CC-951BCBEDA3B6}" dt="2021-10-16T08:30:11.002" v="185" actId="6549"/>
          <ac:spMkLst>
            <pc:docMk/>
            <pc:sldMk cId="53967156" sldId="297"/>
            <ac:spMk id="4" creationId="{F3A15CBD-C746-44A3-A4F0-4898CE2F02E6}"/>
          </ac:spMkLst>
        </pc:spChg>
        <pc:spChg chg="mod">
          <ac:chgData name="Thomas Stensitzki" userId="75cafe6b-2f2a-469b-85c4-eec3b9c972ba" providerId="ADAL" clId="{04798C56-1619-44FF-99CC-951BCBEDA3B6}" dt="2021-10-16T08:30:33.213" v="195" actId="6549"/>
          <ac:spMkLst>
            <pc:docMk/>
            <pc:sldMk cId="53967156" sldId="297"/>
            <ac:spMk id="5" creationId="{F3459BE7-1731-4733-A912-12977C68CFD6}"/>
          </ac:spMkLst>
        </pc:spChg>
      </pc:sldChg>
      <pc:sldChg chg="modSp del modAnim">
        <pc:chgData name="Thomas Stensitzki" userId="75cafe6b-2f2a-469b-85c4-eec3b9c972ba" providerId="ADAL" clId="{04798C56-1619-44FF-99CC-951BCBEDA3B6}" dt="2021-10-21T13:33:34.479" v="5107" actId="47"/>
        <pc:sldMkLst>
          <pc:docMk/>
          <pc:sldMk cId="222169851" sldId="312"/>
        </pc:sldMkLst>
        <pc:spChg chg="mod">
          <ac:chgData name="Thomas Stensitzki" userId="75cafe6b-2f2a-469b-85c4-eec3b9c972ba" providerId="ADAL" clId="{04798C56-1619-44FF-99CC-951BCBEDA3B6}" dt="2021-10-21T13:22:22.075" v="4490" actId="20577"/>
          <ac:spMkLst>
            <pc:docMk/>
            <pc:sldMk cId="222169851" sldId="312"/>
            <ac:spMk id="4" creationId="{7B30EE16-D925-417D-89E0-E0CFDA2C14B8}"/>
          </ac:spMkLst>
        </pc:spChg>
        <pc:spChg chg="mod">
          <ac:chgData name="Thomas Stensitzki" userId="75cafe6b-2f2a-469b-85c4-eec3b9c972ba" providerId="ADAL" clId="{04798C56-1619-44FF-99CC-951BCBEDA3B6}" dt="2021-10-21T13:28:58.491" v="4803" actId="20577"/>
          <ac:spMkLst>
            <pc:docMk/>
            <pc:sldMk cId="222169851" sldId="312"/>
            <ac:spMk id="5" creationId="{E4B561B6-C0CF-43D8-8BC7-F305B96C47C8}"/>
          </ac:spMkLst>
        </pc:spChg>
      </pc:sldChg>
      <pc:sldChg chg="modSp del mod">
        <pc:chgData name="Thomas Stensitzki" userId="75cafe6b-2f2a-469b-85c4-eec3b9c972ba" providerId="ADAL" clId="{04798C56-1619-44FF-99CC-951BCBEDA3B6}" dt="2021-10-16T08:53:15.876" v="252" actId="47"/>
        <pc:sldMkLst>
          <pc:docMk/>
          <pc:sldMk cId="3298503951" sldId="372"/>
        </pc:sldMkLst>
        <pc:spChg chg="mod">
          <ac:chgData name="Thomas Stensitzki" userId="75cafe6b-2f2a-469b-85c4-eec3b9c972ba" providerId="ADAL" clId="{04798C56-1619-44FF-99CC-951BCBEDA3B6}" dt="2021-10-16T08:52:50.564" v="250" actId="1076"/>
          <ac:spMkLst>
            <pc:docMk/>
            <pc:sldMk cId="3298503951" sldId="372"/>
            <ac:spMk id="2" creationId="{909DC09D-B9A6-4493-9A72-1CA7ECB1F5CA}"/>
          </ac:spMkLst>
        </pc:spChg>
      </pc:sldChg>
      <pc:sldChg chg="modSp mod">
        <pc:chgData name="Thomas Stensitzki" userId="75cafe6b-2f2a-469b-85c4-eec3b9c972ba" providerId="ADAL" clId="{04798C56-1619-44FF-99CC-951BCBEDA3B6}" dt="2021-10-18T06:50:38.860" v="3514" actId="14100"/>
        <pc:sldMkLst>
          <pc:docMk/>
          <pc:sldMk cId="2227487991" sldId="378"/>
        </pc:sldMkLst>
        <pc:spChg chg="mod">
          <ac:chgData name="Thomas Stensitzki" userId="75cafe6b-2f2a-469b-85c4-eec3b9c972ba" providerId="ADAL" clId="{04798C56-1619-44FF-99CC-951BCBEDA3B6}" dt="2021-10-18T06:50:38.860" v="3514" actId="14100"/>
          <ac:spMkLst>
            <pc:docMk/>
            <pc:sldMk cId="2227487991" sldId="378"/>
            <ac:spMk id="2" creationId="{909DC09D-B9A6-4493-9A72-1CA7ECB1F5CA}"/>
          </ac:spMkLst>
        </pc:spChg>
        <pc:spChg chg="mod">
          <ac:chgData name="Thomas Stensitzki" userId="75cafe6b-2f2a-469b-85c4-eec3b9c972ba" providerId="ADAL" clId="{04798C56-1619-44FF-99CC-951BCBEDA3B6}" dt="2021-10-16T09:06:08.755" v="275" actId="20577"/>
          <ac:spMkLst>
            <pc:docMk/>
            <pc:sldMk cId="2227487991" sldId="378"/>
            <ac:spMk id="4" creationId="{D12969B4-351A-4517-A5B8-3E6AD9CDB206}"/>
          </ac:spMkLst>
        </pc:spChg>
        <pc:spChg chg="mod">
          <ac:chgData name="Thomas Stensitzki" userId="75cafe6b-2f2a-469b-85c4-eec3b9c972ba" providerId="ADAL" clId="{04798C56-1619-44FF-99CC-951BCBEDA3B6}" dt="2021-10-16T11:37:02.088" v="3118" actId="20577"/>
          <ac:spMkLst>
            <pc:docMk/>
            <pc:sldMk cId="2227487991" sldId="378"/>
            <ac:spMk id="5" creationId="{C24DACB5-1BEC-4C86-9652-BAFD8DE56FEF}"/>
          </ac:spMkLst>
        </pc:spChg>
      </pc:sldChg>
      <pc:sldChg chg="del">
        <pc:chgData name="Thomas Stensitzki" userId="75cafe6b-2f2a-469b-85c4-eec3b9c972ba" providerId="ADAL" clId="{04798C56-1619-44FF-99CC-951BCBEDA3B6}" dt="2021-10-16T08:52:41.648" v="249" actId="47"/>
        <pc:sldMkLst>
          <pc:docMk/>
          <pc:sldMk cId="2708846828" sldId="392"/>
        </pc:sldMkLst>
      </pc:sldChg>
      <pc:sldChg chg="del">
        <pc:chgData name="Thomas Stensitzki" userId="75cafe6b-2f2a-469b-85c4-eec3b9c972ba" providerId="ADAL" clId="{04798C56-1619-44FF-99CC-951BCBEDA3B6}" dt="2021-10-16T08:53:12.649" v="251" actId="47"/>
        <pc:sldMkLst>
          <pc:docMk/>
          <pc:sldMk cId="403790565" sldId="492"/>
        </pc:sldMkLst>
      </pc:sldChg>
      <pc:sldChg chg="del">
        <pc:chgData name="Thomas Stensitzki" userId="75cafe6b-2f2a-469b-85c4-eec3b9c972ba" providerId="ADAL" clId="{04798C56-1619-44FF-99CC-951BCBEDA3B6}" dt="2021-10-16T08:52:30.817" v="248" actId="47"/>
        <pc:sldMkLst>
          <pc:docMk/>
          <pc:sldMk cId="2819505311" sldId="493"/>
        </pc:sldMkLst>
      </pc:sldChg>
      <pc:sldChg chg="del">
        <pc:chgData name="Thomas Stensitzki" userId="75cafe6b-2f2a-469b-85c4-eec3b9c972ba" providerId="ADAL" clId="{04798C56-1619-44FF-99CC-951BCBEDA3B6}" dt="2021-10-16T08:53:12.649" v="251" actId="47"/>
        <pc:sldMkLst>
          <pc:docMk/>
          <pc:sldMk cId="900203790" sldId="494"/>
        </pc:sldMkLst>
      </pc:sldChg>
      <pc:sldChg chg="del">
        <pc:chgData name="Thomas Stensitzki" userId="75cafe6b-2f2a-469b-85c4-eec3b9c972ba" providerId="ADAL" clId="{04798C56-1619-44FF-99CC-951BCBEDA3B6}" dt="2021-10-16T08:53:12.649" v="251" actId="47"/>
        <pc:sldMkLst>
          <pc:docMk/>
          <pc:sldMk cId="2871162903" sldId="495"/>
        </pc:sldMkLst>
      </pc:sldChg>
      <pc:sldChg chg="del">
        <pc:chgData name="Thomas Stensitzki" userId="75cafe6b-2f2a-469b-85c4-eec3b9c972ba" providerId="ADAL" clId="{04798C56-1619-44FF-99CC-951BCBEDA3B6}" dt="2021-10-16T08:53:15.876" v="252" actId="47"/>
        <pc:sldMkLst>
          <pc:docMk/>
          <pc:sldMk cId="503783842" sldId="496"/>
        </pc:sldMkLst>
      </pc:sldChg>
      <pc:sldChg chg="del">
        <pc:chgData name="Thomas Stensitzki" userId="75cafe6b-2f2a-469b-85c4-eec3b9c972ba" providerId="ADAL" clId="{04798C56-1619-44FF-99CC-951BCBEDA3B6}" dt="2021-10-16T08:52:30.817" v="248" actId="47"/>
        <pc:sldMkLst>
          <pc:docMk/>
          <pc:sldMk cId="1558837248" sldId="497"/>
        </pc:sldMkLst>
      </pc:sldChg>
      <pc:sldChg chg="del">
        <pc:chgData name="Thomas Stensitzki" userId="75cafe6b-2f2a-469b-85c4-eec3b9c972ba" providerId="ADAL" clId="{04798C56-1619-44FF-99CC-951BCBEDA3B6}" dt="2021-10-16T08:52:30.817" v="248" actId="47"/>
        <pc:sldMkLst>
          <pc:docMk/>
          <pc:sldMk cId="4139680906" sldId="498"/>
        </pc:sldMkLst>
      </pc:sldChg>
      <pc:sldChg chg="del">
        <pc:chgData name="Thomas Stensitzki" userId="75cafe6b-2f2a-469b-85c4-eec3b9c972ba" providerId="ADAL" clId="{04798C56-1619-44FF-99CC-951BCBEDA3B6}" dt="2021-10-16T08:53:15.876" v="252" actId="47"/>
        <pc:sldMkLst>
          <pc:docMk/>
          <pc:sldMk cId="1091876782" sldId="499"/>
        </pc:sldMkLst>
      </pc:sldChg>
      <pc:sldChg chg="del">
        <pc:chgData name="Thomas Stensitzki" userId="75cafe6b-2f2a-469b-85c4-eec3b9c972ba" providerId="ADAL" clId="{04798C56-1619-44FF-99CC-951BCBEDA3B6}" dt="2021-10-16T08:52:30.817" v="248" actId="47"/>
        <pc:sldMkLst>
          <pc:docMk/>
          <pc:sldMk cId="3233405587" sldId="500"/>
        </pc:sldMkLst>
      </pc:sldChg>
      <pc:sldChg chg="del">
        <pc:chgData name="Thomas Stensitzki" userId="75cafe6b-2f2a-469b-85c4-eec3b9c972ba" providerId="ADAL" clId="{04798C56-1619-44FF-99CC-951BCBEDA3B6}" dt="2021-10-16T08:53:12.649" v="251" actId="47"/>
        <pc:sldMkLst>
          <pc:docMk/>
          <pc:sldMk cId="1828632953" sldId="501"/>
        </pc:sldMkLst>
      </pc:sldChg>
      <pc:sldChg chg="del">
        <pc:chgData name="Thomas Stensitzki" userId="75cafe6b-2f2a-469b-85c4-eec3b9c972ba" providerId="ADAL" clId="{04798C56-1619-44FF-99CC-951BCBEDA3B6}" dt="2021-10-16T08:53:12.649" v="251" actId="47"/>
        <pc:sldMkLst>
          <pc:docMk/>
          <pc:sldMk cId="705434850" sldId="502"/>
        </pc:sldMkLst>
      </pc:sldChg>
      <pc:sldChg chg="del">
        <pc:chgData name="Thomas Stensitzki" userId="75cafe6b-2f2a-469b-85c4-eec3b9c972ba" providerId="ADAL" clId="{04798C56-1619-44FF-99CC-951BCBEDA3B6}" dt="2021-10-16T08:53:12.649" v="251" actId="47"/>
        <pc:sldMkLst>
          <pc:docMk/>
          <pc:sldMk cId="2116552428" sldId="503"/>
        </pc:sldMkLst>
      </pc:sldChg>
      <pc:sldChg chg="del">
        <pc:chgData name="Thomas Stensitzki" userId="75cafe6b-2f2a-469b-85c4-eec3b9c972ba" providerId="ADAL" clId="{04798C56-1619-44FF-99CC-951BCBEDA3B6}" dt="2021-10-16T08:53:12.649" v="251" actId="47"/>
        <pc:sldMkLst>
          <pc:docMk/>
          <pc:sldMk cId="2167590192" sldId="504"/>
        </pc:sldMkLst>
      </pc:sldChg>
      <pc:sldChg chg="del">
        <pc:chgData name="Thomas Stensitzki" userId="75cafe6b-2f2a-469b-85c4-eec3b9c972ba" providerId="ADAL" clId="{04798C56-1619-44FF-99CC-951BCBEDA3B6}" dt="2021-10-16T08:53:15.876" v="252" actId="47"/>
        <pc:sldMkLst>
          <pc:docMk/>
          <pc:sldMk cId="2730644169" sldId="505"/>
        </pc:sldMkLst>
      </pc:sldChg>
      <pc:sldChg chg="del">
        <pc:chgData name="Thomas Stensitzki" userId="75cafe6b-2f2a-469b-85c4-eec3b9c972ba" providerId="ADAL" clId="{04798C56-1619-44FF-99CC-951BCBEDA3B6}" dt="2021-10-16T08:52:30.817" v="248" actId="47"/>
        <pc:sldMkLst>
          <pc:docMk/>
          <pc:sldMk cId="1492262341" sldId="506"/>
        </pc:sldMkLst>
      </pc:sldChg>
      <pc:sldChg chg="del">
        <pc:chgData name="Thomas Stensitzki" userId="75cafe6b-2f2a-469b-85c4-eec3b9c972ba" providerId="ADAL" clId="{04798C56-1619-44FF-99CC-951BCBEDA3B6}" dt="2021-10-16T08:52:30.817" v="248" actId="47"/>
        <pc:sldMkLst>
          <pc:docMk/>
          <pc:sldMk cId="2246989815" sldId="507"/>
        </pc:sldMkLst>
      </pc:sldChg>
      <pc:sldChg chg="del">
        <pc:chgData name="Thomas Stensitzki" userId="75cafe6b-2f2a-469b-85c4-eec3b9c972ba" providerId="ADAL" clId="{04798C56-1619-44FF-99CC-951BCBEDA3B6}" dt="2021-10-16T08:52:30.817" v="248" actId="47"/>
        <pc:sldMkLst>
          <pc:docMk/>
          <pc:sldMk cId="389331669" sldId="508"/>
        </pc:sldMkLst>
      </pc:sldChg>
      <pc:sldChg chg="del">
        <pc:chgData name="Thomas Stensitzki" userId="75cafe6b-2f2a-469b-85c4-eec3b9c972ba" providerId="ADAL" clId="{04798C56-1619-44FF-99CC-951BCBEDA3B6}" dt="2021-10-16T08:52:30.817" v="248" actId="47"/>
        <pc:sldMkLst>
          <pc:docMk/>
          <pc:sldMk cId="3227978394" sldId="509"/>
        </pc:sldMkLst>
      </pc:sldChg>
      <pc:sldChg chg="del">
        <pc:chgData name="Thomas Stensitzki" userId="75cafe6b-2f2a-469b-85c4-eec3b9c972ba" providerId="ADAL" clId="{04798C56-1619-44FF-99CC-951BCBEDA3B6}" dt="2021-10-16T08:52:30.817" v="248" actId="47"/>
        <pc:sldMkLst>
          <pc:docMk/>
          <pc:sldMk cId="222762613" sldId="510"/>
        </pc:sldMkLst>
      </pc:sldChg>
      <pc:sldChg chg="del">
        <pc:chgData name="Thomas Stensitzki" userId="75cafe6b-2f2a-469b-85c4-eec3b9c972ba" providerId="ADAL" clId="{04798C56-1619-44FF-99CC-951BCBEDA3B6}" dt="2021-10-16T08:52:30.817" v="248" actId="47"/>
        <pc:sldMkLst>
          <pc:docMk/>
          <pc:sldMk cId="1154144205" sldId="511"/>
        </pc:sldMkLst>
      </pc:sldChg>
      <pc:sldChg chg="del">
        <pc:chgData name="Thomas Stensitzki" userId="75cafe6b-2f2a-469b-85c4-eec3b9c972ba" providerId="ADAL" clId="{04798C56-1619-44FF-99CC-951BCBEDA3B6}" dt="2021-10-16T08:52:30.817" v="248" actId="47"/>
        <pc:sldMkLst>
          <pc:docMk/>
          <pc:sldMk cId="409371138" sldId="512"/>
        </pc:sldMkLst>
      </pc:sldChg>
      <pc:sldChg chg="addSp delSp modSp new mod modClrScheme chgLayout">
        <pc:chgData name="Thomas Stensitzki" userId="75cafe6b-2f2a-469b-85c4-eec3b9c972ba" providerId="ADAL" clId="{04798C56-1619-44FF-99CC-951BCBEDA3B6}" dt="2021-10-16T08:51:58.903" v="247" actId="1076"/>
        <pc:sldMkLst>
          <pc:docMk/>
          <pc:sldMk cId="2395924320" sldId="514"/>
        </pc:sldMkLst>
        <pc:spChg chg="del mod ord">
          <ac:chgData name="Thomas Stensitzki" userId="75cafe6b-2f2a-469b-85c4-eec3b9c972ba" providerId="ADAL" clId="{04798C56-1619-44FF-99CC-951BCBEDA3B6}" dt="2021-10-16T08:48:19.894" v="219" actId="700"/>
          <ac:spMkLst>
            <pc:docMk/>
            <pc:sldMk cId="2395924320" sldId="514"/>
            <ac:spMk id="2" creationId="{01FB363C-BCA7-43D4-A2C7-94DD6B2716CE}"/>
          </ac:spMkLst>
        </pc:spChg>
        <pc:spChg chg="del">
          <ac:chgData name="Thomas Stensitzki" userId="75cafe6b-2f2a-469b-85c4-eec3b9c972ba" providerId="ADAL" clId="{04798C56-1619-44FF-99CC-951BCBEDA3B6}" dt="2021-10-16T08:48:19.894" v="219" actId="700"/>
          <ac:spMkLst>
            <pc:docMk/>
            <pc:sldMk cId="2395924320" sldId="514"/>
            <ac:spMk id="3" creationId="{4E50326A-442F-4BBC-A63A-E76CCF1A2677}"/>
          </ac:spMkLst>
        </pc:spChg>
        <pc:spChg chg="add mod ord">
          <ac:chgData name="Thomas Stensitzki" userId="75cafe6b-2f2a-469b-85c4-eec3b9c972ba" providerId="ADAL" clId="{04798C56-1619-44FF-99CC-951BCBEDA3B6}" dt="2021-10-16T08:48:19.894" v="219" actId="700"/>
          <ac:spMkLst>
            <pc:docMk/>
            <pc:sldMk cId="2395924320" sldId="514"/>
            <ac:spMk id="4" creationId="{BC4CCBB5-60CA-4E97-BDCF-05CC269D742F}"/>
          </ac:spMkLst>
        </pc:spChg>
        <pc:spChg chg="add mod">
          <ac:chgData name="Thomas Stensitzki" userId="75cafe6b-2f2a-469b-85c4-eec3b9c972ba" providerId="ADAL" clId="{04798C56-1619-44FF-99CC-951BCBEDA3B6}" dt="2021-10-16T08:50:07.144" v="232" actId="14100"/>
          <ac:spMkLst>
            <pc:docMk/>
            <pc:sldMk cId="2395924320" sldId="514"/>
            <ac:spMk id="7" creationId="{AC653FA9-1AB6-49AB-B58A-9D12BB4A4394}"/>
          </ac:spMkLst>
        </pc:spChg>
        <pc:spChg chg="add del mod">
          <ac:chgData name="Thomas Stensitzki" userId="75cafe6b-2f2a-469b-85c4-eec3b9c972ba" providerId="ADAL" clId="{04798C56-1619-44FF-99CC-951BCBEDA3B6}" dt="2021-10-16T08:50:45.666" v="238" actId="22"/>
          <ac:spMkLst>
            <pc:docMk/>
            <pc:sldMk cId="2395924320" sldId="514"/>
            <ac:spMk id="9" creationId="{40C187F2-C573-4CA5-B9DB-398D9EA0C398}"/>
          </ac:spMkLst>
        </pc:spChg>
        <pc:spChg chg="add mod">
          <ac:chgData name="Thomas Stensitzki" userId="75cafe6b-2f2a-469b-85c4-eec3b9c972ba" providerId="ADAL" clId="{04798C56-1619-44FF-99CC-951BCBEDA3B6}" dt="2021-10-16T08:51:58.903" v="247" actId="1076"/>
          <ac:spMkLst>
            <pc:docMk/>
            <pc:sldMk cId="2395924320" sldId="514"/>
            <ac:spMk id="11" creationId="{DBAF0D92-4F5B-43B3-858F-5EAB5EC10308}"/>
          </ac:spMkLst>
        </pc:spChg>
        <pc:picChg chg="add mod">
          <ac:chgData name="Thomas Stensitzki" userId="75cafe6b-2f2a-469b-85c4-eec3b9c972ba" providerId="ADAL" clId="{04798C56-1619-44FF-99CC-951BCBEDA3B6}" dt="2021-10-16T08:49:01.526" v="227" actId="1440"/>
          <ac:picMkLst>
            <pc:docMk/>
            <pc:sldMk cId="2395924320" sldId="514"/>
            <ac:picMk id="6" creationId="{69AC6E8A-ECCC-4CAE-8164-9F3F87C4F2D6}"/>
          </ac:picMkLst>
        </pc:picChg>
      </pc:sldChg>
      <pc:sldChg chg="addSp delSp modSp add mod ord">
        <pc:chgData name="Thomas Stensitzki" userId="75cafe6b-2f2a-469b-85c4-eec3b9c972ba" providerId="ADAL" clId="{04798C56-1619-44FF-99CC-951BCBEDA3B6}" dt="2021-10-18T07:00:13.981" v="4091" actId="14100"/>
        <pc:sldMkLst>
          <pc:docMk/>
          <pc:sldMk cId="3797754622" sldId="515"/>
        </pc:sldMkLst>
        <pc:spChg chg="mod">
          <ac:chgData name="Thomas Stensitzki" userId="75cafe6b-2f2a-469b-85c4-eec3b9c972ba" providerId="ADAL" clId="{04798C56-1619-44FF-99CC-951BCBEDA3B6}" dt="2021-10-18T07:00:13.981" v="4091" actId="14100"/>
          <ac:spMkLst>
            <pc:docMk/>
            <pc:sldMk cId="3797754622" sldId="515"/>
            <ac:spMk id="2" creationId="{909DC09D-B9A6-4493-9A72-1CA7ECB1F5CA}"/>
          </ac:spMkLst>
        </pc:spChg>
        <pc:spChg chg="mod">
          <ac:chgData name="Thomas Stensitzki" userId="75cafe6b-2f2a-469b-85c4-eec3b9c972ba" providerId="ADAL" clId="{04798C56-1619-44FF-99CC-951BCBEDA3B6}" dt="2021-10-16T09:06:00.255" v="265" actId="20577"/>
          <ac:spMkLst>
            <pc:docMk/>
            <pc:sldMk cId="3797754622" sldId="515"/>
            <ac:spMk id="4" creationId="{D12969B4-351A-4517-A5B8-3E6AD9CDB206}"/>
          </ac:spMkLst>
        </pc:spChg>
        <pc:spChg chg="mod">
          <ac:chgData name="Thomas Stensitzki" userId="75cafe6b-2f2a-469b-85c4-eec3b9c972ba" providerId="ADAL" clId="{04798C56-1619-44FF-99CC-951BCBEDA3B6}" dt="2021-10-16T11:37:25.797" v="3122" actId="20577"/>
          <ac:spMkLst>
            <pc:docMk/>
            <pc:sldMk cId="3797754622" sldId="515"/>
            <ac:spMk id="5" creationId="{C24DACB5-1BEC-4C86-9652-BAFD8DE56FEF}"/>
          </ac:spMkLst>
        </pc:spChg>
        <pc:spChg chg="add del">
          <ac:chgData name="Thomas Stensitzki" userId="75cafe6b-2f2a-469b-85c4-eec3b9c972ba" providerId="ADAL" clId="{04798C56-1619-44FF-99CC-951BCBEDA3B6}" dt="2021-10-16T09:07:15.720" v="289" actId="22"/>
          <ac:spMkLst>
            <pc:docMk/>
            <pc:sldMk cId="3797754622" sldId="515"/>
            <ac:spMk id="6" creationId="{D11E1C29-625B-4233-A181-BC1380056693}"/>
          </ac:spMkLst>
        </pc:spChg>
      </pc:sldChg>
      <pc:sldChg chg="addSp modSp new mod modAnim">
        <pc:chgData name="Thomas Stensitzki" userId="75cafe6b-2f2a-469b-85c4-eec3b9c972ba" providerId="ADAL" clId="{04798C56-1619-44FF-99CC-951BCBEDA3B6}" dt="2021-10-18T07:00:48.371" v="4132"/>
        <pc:sldMkLst>
          <pc:docMk/>
          <pc:sldMk cId="2712056554" sldId="516"/>
        </pc:sldMkLst>
        <pc:spChg chg="mod">
          <ac:chgData name="Thomas Stensitzki" userId="75cafe6b-2f2a-469b-85c4-eec3b9c972ba" providerId="ADAL" clId="{04798C56-1619-44FF-99CC-951BCBEDA3B6}" dt="2021-10-16T09:10:53.320" v="392"/>
          <ac:spMkLst>
            <pc:docMk/>
            <pc:sldMk cId="2712056554" sldId="516"/>
            <ac:spMk id="2" creationId="{F884F3B4-BE70-4584-85CE-8207FCF82B50}"/>
          </ac:spMkLst>
        </pc:spChg>
        <pc:spChg chg="mod">
          <ac:chgData name="Thomas Stensitzki" userId="75cafe6b-2f2a-469b-85c4-eec3b9c972ba" providerId="ADAL" clId="{04798C56-1619-44FF-99CC-951BCBEDA3B6}" dt="2021-10-16T09:13:57.657" v="501" actId="20577"/>
          <ac:spMkLst>
            <pc:docMk/>
            <pc:sldMk cId="2712056554" sldId="516"/>
            <ac:spMk id="3" creationId="{A07B2357-9CF7-41EB-B7DA-519817A3BA59}"/>
          </ac:spMkLst>
        </pc:spChg>
        <pc:picChg chg="add mod">
          <ac:chgData name="Thomas Stensitzki" userId="75cafe6b-2f2a-469b-85c4-eec3b9c972ba" providerId="ADAL" clId="{04798C56-1619-44FF-99CC-951BCBEDA3B6}" dt="2021-10-16T09:12:13.968" v="477" actId="1076"/>
          <ac:picMkLst>
            <pc:docMk/>
            <pc:sldMk cId="2712056554" sldId="516"/>
            <ac:picMk id="4" creationId="{EE4A7BB7-6D9F-4B05-ABAF-258031170F8E}"/>
          </ac:picMkLst>
        </pc:picChg>
        <pc:picChg chg="add mod">
          <ac:chgData name="Thomas Stensitzki" userId="75cafe6b-2f2a-469b-85c4-eec3b9c972ba" providerId="ADAL" clId="{04798C56-1619-44FF-99CC-951BCBEDA3B6}" dt="2021-10-16T09:13:01.534" v="486" actId="14100"/>
          <ac:picMkLst>
            <pc:docMk/>
            <pc:sldMk cId="2712056554" sldId="516"/>
            <ac:picMk id="5" creationId="{60C5CCFD-7218-458F-B770-0C937F31B6DD}"/>
          </ac:picMkLst>
        </pc:picChg>
        <pc:picChg chg="add mod">
          <ac:chgData name="Thomas Stensitzki" userId="75cafe6b-2f2a-469b-85c4-eec3b9c972ba" providerId="ADAL" clId="{04798C56-1619-44FF-99CC-951BCBEDA3B6}" dt="2021-10-16T09:13:15.236" v="489" actId="1440"/>
          <ac:picMkLst>
            <pc:docMk/>
            <pc:sldMk cId="2712056554" sldId="516"/>
            <ac:picMk id="1026" creationId="{61DD7B04-A79F-47EE-9FA3-1EF3BAF2549A}"/>
          </ac:picMkLst>
        </pc:picChg>
      </pc:sldChg>
      <pc:sldChg chg="modSp new mod">
        <pc:chgData name="Thomas Stensitzki" userId="75cafe6b-2f2a-469b-85c4-eec3b9c972ba" providerId="ADAL" clId="{04798C56-1619-44FF-99CC-951BCBEDA3B6}" dt="2021-10-16T10:11:35.711" v="1477" actId="114"/>
        <pc:sldMkLst>
          <pc:docMk/>
          <pc:sldMk cId="2592263701" sldId="517"/>
        </pc:sldMkLst>
        <pc:spChg chg="mod">
          <ac:chgData name="Thomas Stensitzki" userId="75cafe6b-2f2a-469b-85c4-eec3b9c972ba" providerId="ADAL" clId="{04798C56-1619-44FF-99CC-951BCBEDA3B6}" dt="2021-10-16T09:30:04.338" v="551"/>
          <ac:spMkLst>
            <pc:docMk/>
            <pc:sldMk cId="2592263701" sldId="517"/>
            <ac:spMk id="2" creationId="{02873501-8633-41AE-A717-D3437F3C8D38}"/>
          </ac:spMkLst>
        </pc:spChg>
        <pc:spChg chg="mod">
          <ac:chgData name="Thomas Stensitzki" userId="75cafe6b-2f2a-469b-85c4-eec3b9c972ba" providerId="ADAL" clId="{04798C56-1619-44FF-99CC-951BCBEDA3B6}" dt="2021-10-16T10:11:35.711" v="1477" actId="114"/>
          <ac:spMkLst>
            <pc:docMk/>
            <pc:sldMk cId="2592263701" sldId="517"/>
            <ac:spMk id="3" creationId="{10D05E72-139E-4F93-9CF2-E461F306D3F4}"/>
          </ac:spMkLst>
        </pc:spChg>
      </pc:sldChg>
      <pc:sldChg chg="addSp delSp modSp new mod modAnim">
        <pc:chgData name="Thomas Stensitzki" userId="75cafe6b-2f2a-469b-85c4-eec3b9c972ba" providerId="ADAL" clId="{04798C56-1619-44FF-99CC-951BCBEDA3B6}" dt="2021-10-21T13:17:02.352" v="4448"/>
        <pc:sldMkLst>
          <pc:docMk/>
          <pc:sldMk cId="2691419104" sldId="518"/>
        </pc:sldMkLst>
        <pc:spChg chg="mod">
          <ac:chgData name="Thomas Stensitzki" userId="75cafe6b-2f2a-469b-85c4-eec3b9c972ba" providerId="ADAL" clId="{04798C56-1619-44FF-99CC-951BCBEDA3B6}" dt="2021-10-16T10:11:43.045" v="1498" actId="6549"/>
          <ac:spMkLst>
            <pc:docMk/>
            <pc:sldMk cId="2691419104" sldId="518"/>
            <ac:spMk id="2" creationId="{A47CE3D6-ACC4-4E98-8DA1-C7BC6FCDF7B9}"/>
          </ac:spMkLst>
        </pc:spChg>
        <pc:spChg chg="del">
          <ac:chgData name="Thomas Stensitzki" userId="75cafe6b-2f2a-469b-85c4-eec3b9c972ba" providerId="ADAL" clId="{04798C56-1619-44FF-99CC-951BCBEDA3B6}" dt="2021-10-16T09:45:53.303" v="581" actId="1032"/>
          <ac:spMkLst>
            <pc:docMk/>
            <pc:sldMk cId="2691419104" sldId="518"/>
            <ac:spMk id="3" creationId="{501241C8-CCBC-4F03-871B-75142A5CB54C}"/>
          </ac:spMkLst>
        </pc:spChg>
        <pc:spChg chg="add del mod">
          <ac:chgData name="Thomas Stensitzki" userId="75cafe6b-2f2a-469b-85c4-eec3b9c972ba" providerId="ADAL" clId="{04798C56-1619-44FF-99CC-951BCBEDA3B6}" dt="2021-10-16T10:07:41.388" v="1369" actId="11529"/>
          <ac:spMkLst>
            <pc:docMk/>
            <pc:sldMk cId="2691419104" sldId="518"/>
            <ac:spMk id="5" creationId="{83B9018F-CC53-4B54-976E-6EF789BC3E14}"/>
          </ac:spMkLst>
        </pc:spChg>
        <pc:spChg chg="add mod">
          <ac:chgData name="Thomas Stensitzki" userId="75cafe6b-2f2a-469b-85c4-eec3b9c972ba" providerId="ADAL" clId="{04798C56-1619-44FF-99CC-951BCBEDA3B6}" dt="2021-10-16T10:08:25.342" v="1383" actId="1076"/>
          <ac:spMkLst>
            <pc:docMk/>
            <pc:sldMk cId="2691419104" sldId="518"/>
            <ac:spMk id="6" creationId="{7AB9F773-04CA-4DD5-BCA9-88FFD3B0B9C4}"/>
          </ac:spMkLst>
        </pc:spChg>
        <pc:spChg chg="add mod">
          <ac:chgData name="Thomas Stensitzki" userId="75cafe6b-2f2a-469b-85c4-eec3b9c972ba" providerId="ADAL" clId="{04798C56-1619-44FF-99CC-951BCBEDA3B6}" dt="2021-10-16T10:08:37.455" v="1387" actId="6549"/>
          <ac:spMkLst>
            <pc:docMk/>
            <pc:sldMk cId="2691419104" sldId="518"/>
            <ac:spMk id="7" creationId="{0CD5DC5C-74CA-4EDA-9671-68CC7AD71556}"/>
          </ac:spMkLst>
        </pc:spChg>
        <pc:spChg chg="add mod">
          <ac:chgData name="Thomas Stensitzki" userId="75cafe6b-2f2a-469b-85c4-eec3b9c972ba" providerId="ADAL" clId="{04798C56-1619-44FF-99CC-951BCBEDA3B6}" dt="2021-10-16T10:08:48.758" v="1391" actId="6549"/>
          <ac:spMkLst>
            <pc:docMk/>
            <pc:sldMk cId="2691419104" sldId="518"/>
            <ac:spMk id="8" creationId="{C9B36C8D-8A39-40DD-B2C4-DDEB9D759FA0}"/>
          </ac:spMkLst>
        </pc:spChg>
        <pc:spChg chg="add mod">
          <ac:chgData name="Thomas Stensitzki" userId="75cafe6b-2f2a-469b-85c4-eec3b9c972ba" providerId="ADAL" clId="{04798C56-1619-44FF-99CC-951BCBEDA3B6}" dt="2021-10-16T10:09:18.980" v="1397" actId="20577"/>
          <ac:spMkLst>
            <pc:docMk/>
            <pc:sldMk cId="2691419104" sldId="518"/>
            <ac:spMk id="9" creationId="{E9BB9833-9F79-4B36-9636-CC4370E7DC8C}"/>
          </ac:spMkLst>
        </pc:spChg>
        <pc:spChg chg="add mod ord">
          <ac:chgData name="Thomas Stensitzki" userId="75cafe6b-2f2a-469b-85c4-eec3b9c972ba" providerId="ADAL" clId="{04798C56-1619-44FF-99CC-951BCBEDA3B6}" dt="2021-10-16T10:14:14.384" v="1505" actId="14100"/>
          <ac:spMkLst>
            <pc:docMk/>
            <pc:sldMk cId="2691419104" sldId="518"/>
            <ac:spMk id="10" creationId="{6A60B348-C845-407F-A247-0A246554E660}"/>
          </ac:spMkLst>
        </pc:spChg>
        <pc:graphicFrameChg chg="add mod modGraphic">
          <ac:chgData name="Thomas Stensitzki" userId="75cafe6b-2f2a-469b-85c4-eec3b9c972ba" providerId="ADAL" clId="{04798C56-1619-44FF-99CC-951BCBEDA3B6}" dt="2021-10-16T10:13:14.175" v="1499"/>
          <ac:graphicFrameMkLst>
            <pc:docMk/>
            <pc:sldMk cId="2691419104" sldId="518"/>
            <ac:graphicFrameMk id="4" creationId="{4AC86CB2-51E8-461A-9CF6-C0B8BF3C67EA}"/>
          </ac:graphicFrameMkLst>
        </pc:graphicFrameChg>
      </pc:sldChg>
      <pc:sldChg chg="addSp delSp modSp new mod">
        <pc:chgData name="Thomas Stensitzki" userId="75cafe6b-2f2a-469b-85c4-eec3b9c972ba" providerId="ADAL" clId="{04798C56-1619-44FF-99CC-951BCBEDA3B6}" dt="2021-10-16T10:16:13.903" v="1524" actId="1582"/>
        <pc:sldMkLst>
          <pc:docMk/>
          <pc:sldMk cId="2239521866" sldId="519"/>
        </pc:sldMkLst>
        <pc:spChg chg="mod">
          <ac:chgData name="Thomas Stensitzki" userId="75cafe6b-2f2a-469b-85c4-eec3b9c972ba" providerId="ADAL" clId="{04798C56-1619-44FF-99CC-951BCBEDA3B6}" dt="2021-10-16T10:15:28.597" v="1517"/>
          <ac:spMkLst>
            <pc:docMk/>
            <pc:sldMk cId="2239521866" sldId="519"/>
            <ac:spMk id="2" creationId="{75913CB6-469C-4453-AEDA-EE717EB96E3C}"/>
          </ac:spMkLst>
        </pc:spChg>
        <pc:spChg chg="del">
          <ac:chgData name="Thomas Stensitzki" userId="75cafe6b-2f2a-469b-85c4-eec3b9c972ba" providerId="ADAL" clId="{04798C56-1619-44FF-99CC-951BCBEDA3B6}" dt="2021-10-16T10:15:31.791" v="1518" actId="478"/>
          <ac:spMkLst>
            <pc:docMk/>
            <pc:sldMk cId="2239521866" sldId="519"/>
            <ac:spMk id="3" creationId="{27077580-231D-40E2-B229-13188EF2803B}"/>
          </ac:spMkLst>
        </pc:spChg>
        <pc:picChg chg="add mod">
          <ac:chgData name="Thomas Stensitzki" userId="75cafe6b-2f2a-469b-85c4-eec3b9c972ba" providerId="ADAL" clId="{04798C56-1619-44FF-99CC-951BCBEDA3B6}" dt="2021-10-16T10:15:55.797" v="1521" actId="1076"/>
          <ac:picMkLst>
            <pc:docMk/>
            <pc:sldMk cId="2239521866" sldId="519"/>
            <ac:picMk id="2050" creationId="{2A5A4F4F-8033-4E40-9E1E-76A41BBF5BF6}"/>
          </ac:picMkLst>
        </pc:picChg>
        <pc:cxnChg chg="add mod">
          <ac:chgData name="Thomas Stensitzki" userId="75cafe6b-2f2a-469b-85c4-eec3b9c972ba" providerId="ADAL" clId="{04798C56-1619-44FF-99CC-951BCBEDA3B6}" dt="2021-10-16T10:16:13.903" v="1524" actId="1582"/>
          <ac:cxnSpMkLst>
            <pc:docMk/>
            <pc:sldMk cId="2239521866" sldId="519"/>
            <ac:cxnSpMk id="5" creationId="{E012D3C3-9366-4C2A-9AB2-13279C03CA18}"/>
          </ac:cxnSpMkLst>
        </pc:cxnChg>
      </pc:sldChg>
      <pc:sldChg chg="addSp delSp modSp new mod">
        <pc:chgData name="Thomas Stensitzki" userId="75cafe6b-2f2a-469b-85c4-eec3b9c972ba" providerId="ADAL" clId="{04798C56-1619-44FF-99CC-951BCBEDA3B6}" dt="2021-10-16T10:20:24.982" v="1626" actId="1440"/>
        <pc:sldMkLst>
          <pc:docMk/>
          <pc:sldMk cId="2023308020" sldId="520"/>
        </pc:sldMkLst>
        <pc:spChg chg="mod">
          <ac:chgData name="Thomas Stensitzki" userId="75cafe6b-2f2a-469b-85c4-eec3b9c972ba" providerId="ADAL" clId="{04798C56-1619-44FF-99CC-951BCBEDA3B6}" dt="2021-10-16T10:18:58.345" v="1602"/>
          <ac:spMkLst>
            <pc:docMk/>
            <pc:sldMk cId="2023308020" sldId="520"/>
            <ac:spMk id="2" creationId="{873A3C1C-26A2-48C4-A072-652CE92B49A4}"/>
          </ac:spMkLst>
        </pc:spChg>
        <pc:spChg chg="del">
          <ac:chgData name="Thomas Stensitzki" userId="75cafe6b-2f2a-469b-85c4-eec3b9c972ba" providerId="ADAL" clId="{04798C56-1619-44FF-99CC-951BCBEDA3B6}" dt="2021-10-16T10:19:08.223" v="1603" actId="478"/>
          <ac:spMkLst>
            <pc:docMk/>
            <pc:sldMk cId="2023308020" sldId="520"/>
            <ac:spMk id="3" creationId="{787E991E-D7FF-420C-A4DB-65DDE4DA2A39}"/>
          </ac:spMkLst>
        </pc:spChg>
        <pc:picChg chg="add mod">
          <ac:chgData name="Thomas Stensitzki" userId="75cafe6b-2f2a-469b-85c4-eec3b9c972ba" providerId="ADAL" clId="{04798C56-1619-44FF-99CC-951BCBEDA3B6}" dt="2021-10-16T10:19:20.010" v="1607" actId="1076"/>
          <ac:picMkLst>
            <pc:docMk/>
            <pc:sldMk cId="2023308020" sldId="520"/>
            <ac:picMk id="3074" creationId="{B7A60345-AAD4-465E-A1C2-3D1747C6575D}"/>
          </ac:picMkLst>
        </pc:picChg>
        <pc:picChg chg="add mod">
          <ac:chgData name="Thomas Stensitzki" userId="75cafe6b-2f2a-469b-85c4-eec3b9c972ba" providerId="ADAL" clId="{04798C56-1619-44FF-99CC-951BCBEDA3B6}" dt="2021-10-16T10:20:14.138" v="1624" actId="1076"/>
          <ac:picMkLst>
            <pc:docMk/>
            <pc:sldMk cId="2023308020" sldId="520"/>
            <ac:picMk id="3076" creationId="{95CF4B3E-C0AD-4948-9F80-F2D7726AF8AB}"/>
          </ac:picMkLst>
        </pc:picChg>
        <pc:picChg chg="add mod">
          <ac:chgData name="Thomas Stensitzki" userId="75cafe6b-2f2a-469b-85c4-eec3b9c972ba" providerId="ADAL" clId="{04798C56-1619-44FF-99CC-951BCBEDA3B6}" dt="2021-10-16T10:20:24.982" v="1626" actId="1440"/>
          <ac:picMkLst>
            <pc:docMk/>
            <pc:sldMk cId="2023308020" sldId="520"/>
            <ac:picMk id="3078" creationId="{1A918997-72EF-46A2-9956-D54C41BC4199}"/>
          </ac:picMkLst>
        </pc:picChg>
        <pc:cxnChg chg="add mod">
          <ac:chgData name="Thomas Stensitzki" userId="75cafe6b-2f2a-469b-85c4-eec3b9c972ba" providerId="ADAL" clId="{04798C56-1619-44FF-99CC-951BCBEDA3B6}" dt="2021-10-16T10:19:44.316" v="1615" actId="14100"/>
          <ac:cxnSpMkLst>
            <pc:docMk/>
            <pc:sldMk cId="2023308020" sldId="520"/>
            <ac:cxnSpMk id="5" creationId="{147FBB7F-95B3-4D9F-B716-41066EEA072D}"/>
          </ac:cxnSpMkLst>
        </pc:cxnChg>
      </pc:sldChg>
      <pc:sldChg chg="addSp delSp modSp new mod modClrScheme chgLayout">
        <pc:chgData name="Thomas Stensitzki" userId="75cafe6b-2f2a-469b-85c4-eec3b9c972ba" providerId="ADAL" clId="{04798C56-1619-44FF-99CC-951BCBEDA3B6}" dt="2021-10-16T10:23:07.401" v="1702" actId="1076"/>
        <pc:sldMkLst>
          <pc:docMk/>
          <pc:sldMk cId="3342197954" sldId="521"/>
        </pc:sldMkLst>
        <pc:spChg chg="del mod ord">
          <ac:chgData name="Thomas Stensitzki" userId="75cafe6b-2f2a-469b-85c4-eec3b9c972ba" providerId="ADAL" clId="{04798C56-1619-44FF-99CC-951BCBEDA3B6}" dt="2021-10-16T10:21:06.137" v="1629" actId="700"/>
          <ac:spMkLst>
            <pc:docMk/>
            <pc:sldMk cId="3342197954" sldId="521"/>
            <ac:spMk id="2" creationId="{1FCC91F0-9F3C-45EB-B6FF-336C851682C6}"/>
          </ac:spMkLst>
        </pc:spChg>
        <pc:spChg chg="del">
          <ac:chgData name="Thomas Stensitzki" userId="75cafe6b-2f2a-469b-85c4-eec3b9c972ba" providerId="ADAL" clId="{04798C56-1619-44FF-99CC-951BCBEDA3B6}" dt="2021-10-16T10:21:06.137" v="1629" actId="700"/>
          <ac:spMkLst>
            <pc:docMk/>
            <pc:sldMk cId="3342197954" sldId="521"/>
            <ac:spMk id="3" creationId="{F2D5539C-F64B-4BBD-8D92-FFBA85D0F45F}"/>
          </ac:spMkLst>
        </pc:spChg>
        <pc:spChg chg="add mod ord">
          <ac:chgData name="Thomas Stensitzki" userId="75cafe6b-2f2a-469b-85c4-eec3b9c972ba" providerId="ADAL" clId="{04798C56-1619-44FF-99CC-951BCBEDA3B6}" dt="2021-10-16T10:21:12.726" v="1631"/>
          <ac:spMkLst>
            <pc:docMk/>
            <pc:sldMk cId="3342197954" sldId="521"/>
            <ac:spMk id="4" creationId="{237778C3-D01E-4605-9275-3F8FEEF77C69}"/>
          </ac:spMkLst>
        </pc:spChg>
        <pc:picChg chg="add mod">
          <ac:chgData name="Thomas Stensitzki" userId="75cafe6b-2f2a-469b-85c4-eec3b9c972ba" providerId="ADAL" clId="{04798C56-1619-44FF-99CC-951BCBEDA3B6}" dt="2021-10-16T10:22:38.682" v="1698" actId="1076"/>
          <ac:picMkLst>
            <pc:docMk/>
            <pc:sldMk cId="3342197954" sldId="521"/>
            <ac:picMk id="4098" creationId="{A3EBC635-856A-4C2D-A3A7-4C6EDD7B2A52}"/>
          </ac:picMkLst>
        </pc:picChg>
        <pc:cxnChg chg="add mod">
          <ac:chgData name="Thomas Stensitzki" userId="75cafe6b-2f2a-469b-85c4-eec3b9c972ba" providerId="ADAL" clId="{04798C56-1619-44FF-99CC-951BCBEDA3B6}" dt="2021-10-16T10:23:07.401" v="1702" actId="1076"/>
          <ac:cxnSpMkLst>
            <pc:docMk/>
            <pc:sldMk cId="3342197954" sldId="521"/>
            <ac:cxnSpMk id="6" creationId="{754815A2-3648-4ADF-AA4E-B5635C544B6E}"/>
          </ac:cxnSpMkLst>
        </pc:cxnChg>
      </pc:sldChg>
      <pc:sldChg chg="addSp delSp modSp add del mod">
        <pc:chgData name="Thomas Stensitzki" userId="75cafe6b-2f2a-469b-85c4-eec3b9c972ba" providerId="ADAL" clId="{04798C56-1619-44FF-99CC-951BCBEDA3B6}" dt="2021-10-16T10:25:24.902" v="1728" actId="2696"/>
        <pc:sldMkLst>
          <pc:docMk/>
          <pc:sldMk cId="963108723" sldId="522"/>
        </pc:sldMkLst>
        <pc:spChg chg="mod">
          <ac:chgData name="Thomas Stensitzki" userId="75cafe6b-2f2a-469b-85c4-eec3b9c972ba" providerId="ADAL" clId="{04798C56-1619-44FF-99CC-951BCBEDA3B6}" dt="2021-10-16T10:24:16.796" v="1721"/>
          <ac:spMkLst>
            <pc:docMk/>
            <pc:sldMk cId="963108723" sldId="522"/>
            <ac:spMk id="4" creationId="{237778C3-D01E-4605-9275-3F8FEEF77C69}"/>
          </ac:spMkLst>
        </pc:spChg>
        <pc:picChg chg="add del mod">
          <ac:chgData name="Thomas Stensitzki" userId="75cafe6b-2f2a-469b-85c4-eec3b9c972ba" providerId="ADAL" clId="{04798C56-1619-44FF-99CC-951BCBEDA3B6}" dt="2021-10-16T10:24:47.539" v="1727" actId="478"/>
          <ac:picMkLst>
            <pc:docMk/>
            <pc:sldMk cId="963108723" sldId="522"/>
            <ac:picMk id="2" creationId="{34804C99-4832-4326-92A8-C133C8FA725B}"/>
          </ac:picMkLst>
        </pc:picChg>
      </pc:sldChg>
      <pc:sldChg chg="addSp modSp add mod ord modAnim">
        <pc:chgData name="Thomas Stensitzki" userId="75cafe6b-2f2a-469b-85c4-eec3b9c972ba" providerId="ADAL" clId="{04798C56-1619-44FF-99CC-951BCBEDA3B6}" dt="2021-10-18T06:57:29.195" v="3931"/>
        <pc:sldMkLst>
          <pc:docMk/>
          <pc:sldMk cId="2697887611" sldId="523"/>
        </pc:sldMkLst>
        <pc:spChg chg="mod">
          <ac:chgData name="Thomas Stensitzki" userId="75cafe6b-2f2a-469b-85c4-eec3b9c972ba" providerId="ADAL" clId="{04798C56-1619-44FF-99CC-951BCBEDA3B6}" dt="2021-10-16T11:10:34.667" v="2369" actId="5793"/>
          <ac:spMkLst>
            <pc:docMk/>
            <pc:sldMk cId="2697887611" sldId="523"/>
            <ac:spMk id="4" creationId="{237778C3-D01E-4605-9275-3F8FEEF77C69}"/>
          </ac:spMkLst>
        </pc:spChg>
        <pc:picChg chg="add mod">
          <ac:chgData name="Thomas Stensitzki" userId="75cafe6b-2f2a-469b-85c4-eec3b9c972ba" providerId="ADAL" clId="{04798C56-1619-44FF-99CC-951BCBEDA3B6}" dt="2021-10-16T11:10:13.484" v="2353" actId="1076"/>
          <ac:picMkLst>
            <pc:docMk/>
            <pc:sldMk cId="2697887611" sldId="523"/>
            <ac:picMk id="3" creationId="{4D0CC758-400B-485A-A1EF-67C25647D090}"/>
          </ac:picMkLst>
        </pc:picChg>
        <pc:picChg chg="add mod">
          <ac:chgData name="Thomas Stensitzki" userId="75cafe6b-2f2a-469b-85c4-eec3b9c972ba" providerId="ADAL" clId="{04798C56-1619-44FF-99CC-951BCBEDA3B6}" dt="2021-10-16T11:10:15.406" v="2354" actId="1076"/>
          <ac:picMkLst>
            <pc:docMk/>
            <pc:sldMk cId="2697887611" sldId="523"/>
            <ac:picMk id="5" creationId="{BFEF3186-9AD0-4D4C-A61B-F40053705A67}"/>
          </ac:picMkLst>
        </pc:picChg>
      </pc:sldChg>
      <pc:sldChg chg="modSp add mod ord">
        <pc:chgData name="Thomas Stensitzki" userId="75cafe6b-2f2a-469b-85c4-eec3b9c972ba" providerId="ADAL" clId="{04798C56-1619-44FF-99CC-951BCBEDA3B6}" dt="2021-10-18T06:53:32.991" v="3804" actId="1035"/>
        <pc:sldMkLst>
          <pc:docMk/>
          <pc:sldMk cId="3151864037" sldId="524"/>
        </pc:sldMkLst>
        <pc:spChg chg="mod">
          <ac:chgData name="Thomas Stensitzki" userId="75cafe6b-2f2a-469b-85c4-eec3b9c972ba" providerId="ADAL" clId="{04798C56-1619-44FF-99CC-951BCBEDA3B6}" dt="2021-10-18T06:53:32.991" v="3804" actId="1035"/>
          <ac:spMkLst>
            <pc:docMk/>
            <pc:sldMk cId="3151864037" sldId="524"/>
            <ac:spMk id="2" creationId="{909DC09D-B9A6-4493-9A72-1CA7ECB1F5CA}"/>
          </ac:spMkLst>
        </pc:spChg>
        <pc:spChg chg="mod">
          <ac:chgData name="Thomas Stensitzki" userId="75cafe6b-2f2a-469b-85c4-eec3b9c972ba" providerId="ADAL" clId="{04798C56-1619-44FF-99CC-951BCBEDA3B6}" dt="2021-10-16T11:36:38.393" v="3113" actId="6549"/>
          <ac:spMkLst>
            <pc:docMk/>
            <pc:sldMk cId="3151864037" sldId="524"/>
            <ac:spMk id="5" creationId="{C24DACB5-1BEC-4C86-9652-BAFD8DE56FEF}"/>
          </ac:spMkLst>
        </pc:spChg>
      </pc:sldChg>
      <pc:sldChg chg="addSp modSp add mod ord">
        <pc:chgData name="Thomas Stensitzki" userId="75cafe6b-2f2a-469b-85c4-eec3b9c972ba" providerId="ADAL" clId="{04798C56-1619-44FF-99CC-951BCBEDA3B6}" dt="2021-10-16T10:32:37.603" v="1870"/>
        <pc:sldMkLst>
          <pc:docMk/>
          <pc:sldMk cId="1710541557" sldId="525"/>
        </pc:sldMkLst>
        <pc:spChg chg="mod">
          <ac:chgData name="Thomas Stensitzki" userId="75cafe6b-2f2a-469b-85c4-eec3b9c972ba" providerId="ADAL" clId="{04798C56-1619-44FF-99CC-951BCBEDA3B6}" dt="2021-10-16T10:32:31.346" v="1868"/>
          <ac:spMkLst>
            <pc:docMk/>
            <pc:sldMk cId="1710541557" sldId="525"/>
            <ac:spMk id="4" creationId="{237778C3-D01E-4605-9275-3F8FEEF77C69}"/>
          </ac:spMkLst>
        </pc:spChg>
        <pc:picChg chg="add mod">
          <ac:chgData name="Thomas Stensitzki" userId="75cafe6b-2f2a-469b-85c4-eec3b9c972ba" providerId="ADAL" clId="{04798C56-1619-44FF-99CC-951BCBEDA3B6}" dt="2021-10-16T10:32:19.181" v="1867" actId="1440"/>
          <ac:picMkLst>
            <pc:docMk/>
            <pc:sldMk cId="1710541557" sldId="525"/>
            <ac:picMk id="2" creationId="{06D52E15-8E3C-4940-B65E-F576B3596520}"/>
          </ac:picMkLst>
        </pc:picChg>
      </pc:sldChg>
      <pc:sldChg chg="addSp delSp modSp add mod modClrScheme chgLayout">
        <pc:chgData name="Thomas Stensitzki" userId="75cafe6b-2f2a-469b-85c4-eec3b9c972ba" providerId="ADAL" clId="{04798C56-1619-44FF-99CC-951BCBEDA3B6}" dt="2021-10-16T10:57:29.333" v="2266" actId="20577"/>
        <pc:sldMkLst>
          <pc:docMk/>
          <pc:sldMk cId="2296744449" sldId="526"/>
        </pc:sldMkLst>
        <pc:spChg chg="del mod ord">
          <ac:chgData name="Thomas Stensitzki" userId="75cafe6b-2f2a-469b-85c4-eec3b9c972ba" providerId="ADAL" clId="{04798C56-1619-44FF-99CC-951BCBEDA3B6}" dt="2021-10-16T10:53:41.948" v="2003" actId="700"/>
          <ac:spMkLst>
            <pc:docMk/>
            <pc:sldMk cId="2296744449" sldId="526"/>
            <ac:spMk id="4" creationId="{237778C3-D01E-4605-9275-3F8FEEF77C69}"/>
          </ac:spMkLst>
        </pc:spChg>
        <pc:spChg chg="add mod ord">
          <ac:chgData name="Thomas Stensitzki" userId="75cafe6b-2f2a-469b-85c4-eec3b9c972ba" providerId="ADAL" clId="{04798C56-1619-44FF-99CC-951BCBEDA3B6}" dt="2021-10-16T10:53:57.007" v="2006"/>
          <ac:spMkLst>
            <pc:docMk/>
            <pc:sldMk cId="2296744449" sldId="526"/>
            <ac:spMk id="6" creationId="{A902098A-57D9-477D-88A8-01CD719FA8C7}"/>
          </ac:spMkLst>
        </pc:spChg>
        <pc:spChg chg="add mod ord">
          <ac:chgData name="Thomas Stensitzki" userId="75cafe6b-2f2a-469b-85c4-eec3b9c972ba" providerId="ADAL" clId="{04798C56-1619-44FF-99CC-951BCBEDA3B6}" dt="2021-10-16T10:57:29.333" v="2266" actId="20577"/>
          <ac:spMkLst>
            <pc:docMk/>
            <pc:sldMk cId="2296744449" sldId="526"/>
            <ac:spMk id="7" creationId="{05582143-F84F-494C-9ED3-74F62B4BE08E}"/>
          </ac:spMkLst>
        </pc:spChg>
        <pc:picChg chg="add del">
          <ac:chgData name="Thomas Stensitzki" userId="75cafe6b-2f2a-469b-85c4-eec3b9c972ba" providerId="ADAL" clId="{04798C56-1619-44FF-99CC-951BCBEDA3B6}" dt="2021-10-16T10:51:53.504" v="1996" actId="478"/>
          <ac:picMkLst>
            <pc:docMk/>
            <pc:sldMk cId="2296744449" sldId="526"/>
            <ac:picMk id="2" creationId="{8354C8BF-DF9C-44EA-A1E6-2EC4D16FDA45}"/>
          </ac:picMkLst>
        </pc:picChg>
        <pc:picChg chg="add mod">
          <ac:chgData name="Thomas Stensitzki" userId="75cafe6b-2f2a-469b-85c4-eec3b9c972ba" providerId="ADAL" clId="{04798C56-1619-44FF-99CC-951BCBEDA3B6}" dt="2021-10-16T10:56:09.529" v="2173" actId="1076"/>
          <ac:picMkLst>
            <pc:docMk/>
            <pc:sldMk cId="2296744449" sldId="526"/>
            <ac:picMk id="5" creationId="{5052816C-78B9-4C14-9CFB-A4857227AC95}"/>
          </ac:picMkLst>
        </pc:picChg>
      </pc:sldChg>
      <pc:sldChg chg="addSp delSp modSp new mod">
        <pc:chgData name="Thomas Stensitzki" userId="75cafe6b-2f2a-469b-85c4-eec3b9c972ba" providerId="ADAL" clId="{04798C56-1619-44FF-99CC-951BCBEDA3B6}" dt="2021-10-16T11:12:32.506" v="2404" actId="1440"/>
        <pc:sldMkLst>
          <pc:docMk/>
          <pc:sldMk cId="1119798974" sldId="527"/>
        </pc:sldMkLst>
        <pc:spChg chg="mod">
          <ac:chgData name="Thomas Stensitzki" userId="75cafe6b-2f2a-469b-85c4-eec3b9c972ba" providerId="ADAL" clId="{04798C56-1619-44FF-99CC-951BCBEDA3B6}" dt="2021-10-16T11:12:14.446" v="2400"/>
          <ac:spMkLst>
            <pc:docMk/>
            <pc:sldMk cId="1119798974" sldId="527"/>
            <ac:spMk id="2" creationId="{B8016162-B70C-4672-8C07-1762516DBD9A}"/>
          </ac:spMkLst>
        </pc:spChg>
        <pc:picChg chg="add del mod">
          <ac:chgData name="Thomas Stensitzki" userId="75cafe6b-2f2a-469b-85c4-eec3b9c972ba" providerId="ADAL" clId="{04798C56-1619-44FF-99CC-951BCBEDA3B6}" dt="2021-10-16T11:10:02.834" v="2350" actId="478"/>
          <ac:picMkLst>
            <pc:docMk/>
            <pc:sldMk cId="1119798974" sldId="527"/>
            <ac:picMk id="3" creationId="{3EBA36CF-0A26-4084-8A58-4C6C233A6D9A}"/>
          </ac:picMkLst>
        </pc:picChg>
        <pc:picChg chg="add mod">
          <ac:chgData name="Thomas Stensitzki" userId="75cafe6b-2f2a-469b-85c4-eec3b9c972ba" providerId="ADAL" clId="{04798C56-1619-44FF-99CC-951BCBEDA3B6}" dt="2021-10-16T11:12:32.506" v="2404" actId="1440"/>
          <ac:picMkLst>
            <pc:docMk/>
            <pc:sldMk cId="1119798974" sldId="527"/>
            <ac:picMk id="4" creationId="{EFB94256-E15F-4C1D-B7BB-F66F224840E1}"/>
          </ac:picMkLst>
        </pc:picChg>
        <pc:picChg chg="add del mod">
          <ac:chgData name="Thomas Stensitzki" userId="75cafe6b-2f2a-469b-85c4-eec3b9c972ba" providerId="ADAL" clId="{04798C56-1619-44FF-99CC-951BCBEDA3B6}" dt="2021-10-16T11:10:03.376" v="2351" actId="478"/>
          <ac:picMkLst>
            <pc:docMk/>
            <pc:sldMk cId="1119798974" sldId="527"/>
            <ac:picMk id="5122" creationId="{D4548B28-107D-4544-AA40-F5A15963A7EF}"/>
          </ac:picMkLst>
        </pc:picChg>
      </pc:sldChg>
      <pc:sldChg chg="addSp delSp modSp add mod modAnim">
        <pc:chgData name="Thomas Stensitzki" userId="75cafe6b-2f2a-469b-85c4-eec3b9c972ba" providerId="ADAL" clId="{04798C56-1619-44FF-99CC-951BCBEDA3B6}" dt="2021-10-18T06:57:50.645" v="3932"/>
        <pc:sldMkLst>
          <pc:docMk/>
          <pc:sldMk cId="2356668622" sldId="528"/>
        </pc:sldMkLst>
        <pc:spChg chg="mod">
          <ac:chgData name="Thomas Stensitzki" userId="75cafe6b-2f2a-469b-85c4-eec3b9c972ba" providerId="ADAL" clId="{04798C56-1619-44FF-99CC-951BCBEDA3B6}" dt="2021-10-16T11:10:31.499" v="2367" actId="5793"/>
          <ac:spMkLst>
            <pc:docMk/>
            <pc:sldMk cId="2356668622" sldId="528"/>
            <ac:spMk id="4" creationId="{237778C3-D01E-4605-9275-3F8FEEF77C69}"/>
          </ac:spMkLst>
        </pc:spChg>
        <pc:picChg chg="del">
          <ac:chgData name="Thomas Stensitzki" userId="75cafe6b-2f2a-469b-85c4-eec3b9c972ba" providerId="ADAL" clId="{04798C56-1619-44FF-99CC-951BCBEDA3B6}" dt="2021-10-16T11:10:21.200" v="2356" actId="478"/>
          <ac:picMkLst>
            <pc:docMk/>
            <pc:sldMk cId="2356668622" sldId="528"/>
            <ac:picMk id="3" creationId="{4D0CC758-400B-485A-A1EF-67C25647D090}"/>
          </ac:picMkLst>
        </pc:picChg>
        <pc:picChg chg="del">
          <ac:chgData name="Thomas Stensitzki" userId="75cafe6b-2f2a-469b-85c4-eec3b9c972ba" providerId="ADAL" clId="{04798C56-1619-44FF-99CC-951BCBEDA3B6}" dt="2021-10-16T11:10:21.840" v="2357" actId="478"/>
          <ac:picMkLst>
            <pc:docMk/>
            <pc:sldMk cId="2356668622" sldId="528"/>
            <ac:picMk id="5" creationId="{BFEF3186-9AD0-4D4C-A61B-F40053705A67}"/>
          </ac:picMkLst>
        </pc:picChg>
        <pc:picChg chg="add mod">
          <ac:chgData name="Thomas Stensitzki" userId="75cafe6b-2f2a-469b-85c4-eec3b9c972ba" providerId="ADAL" clId="{04798C56-1619-44FF-99CC-951BCBEDA3B6}" dt="2021-10-16T11:10:59.517" v="2375" actId="1440"/>
          <ac:picMkLst>
            <pc:docMk/>
            <pc:sldMk cId="2356668622" sldId="528"/>
            <ac:picMk id="6146" creationId="{7451AACD-DCF9-47D1-ADF4-2445FE7C952C}"/>
          </ac:picMkLst>
        </pc:picChg>
        <pc:picChg chg="add mod">
          <ac:chgData name="Thomas Stensitzki" userId="75cafe6b-2f2a-469b-85c4-eec3b9c972ba" providerId="ADAL" clId="{04798C56-1619-44FF-99CC-951BCBEDA3B6}" dt="2021-10-16T11:11:02.084" v="2376" actId="1076"/>
          <ac:picMkLst>
            <pc:docMk/>
            <pc:sldMk cId="2356668622" sldId="528"/>
            <ac:picMk id="6148" creationId="{8B67657B-55D4-4655-A739-B22B08D9C5DE}"/>
          </ac:picMkLst>
        </pc:picChg>
      </pc:sldChg>
      <pc:sldChg chg="addSp modSp add mod">
        <pc:chgData name="Thomas Stensitzki" userId="75cafe6b-2f2a-469b-85c4-eec3b9c972ba" providerId="ADAL" clId="{04798C56-1619-44FF-99CC-951BCBEDA3B6}" dt="2021-10-16T11:38:20.939" v="3132" actId="1440"/>
        <pc:sldMkLst>
          <pc:docMk/>
          <pc:sldMk cId="3227298801" sldId="529"/>
        </pc:sldMkLst>
        <pc:spChg chg="mod">
          <ac:chgData name="Thomas Stensitzki" userId="75cafe6b-2f2a-469b-85c4-eec3b9c972ba" providerId="ADAL" clId="{04798C56-1619-44FF-99CC-951BCBEDA3B6}" dt="2021-10-16T11:37:46.995" v="3124"/>
          <ac:spMkLst>
            <pc:docMk/>
            <pc:sldMk cId="3227298801" sldId="529"/>
            <ac:spMk id="2" creationId="{B8016162-B70C-4672-8C07-1762516DBD9A}"/>
          </ac:spMkLst>
        </pc:spChg>
        <pc:picChg chg="add mod">
          <ac:chgData name="Thomas Stensitzki" userId="75cafe6b-2f2a-469b-85c4-eec3b9c972ba" providerId="ADAL" clId="{04798C56-1619-44FF-99CC-951BCBEDA3B6}" dt="2021-10-16T11:38:20.939" v="3132" actId="1440"/>
          <ac:picMkLst>
            <pc:docMk/>
            <pc:sldMk cId="3227298801" sldId="529"/>
            <ac:picMk id="10242" creationId="{851EA549-C7C6-4F51-B742-7F9C1BA59D95}"/>
          </ac:picMkLst>
        </pc:picChg>
      </pc:sldChg>
      <pc:sldChg chg="modSp new mod">
        <pc:chgData name="Thomas Stensitzki" userId="75cafe6b-2f2a-469b-85c4-eec3b9c972ba" providerId="ADAL" clId="{04798C56-1619-44FF-99CC-951BCBEDA3B6}" dt="2021-10-16T11:17:44.016" v="2803" actId="20577"/>
        <pc:sldMkLst>
          <pc:docMk/>
          <pc:sldMk cId="4001838037" sldId="530"/>
        </pc:sldMkLst>
        <pc:spChg chg="mod">
          <ac:chgData name="Thomas Stensitzki" userId="75cafe6b-2f2a-469b-85c4-eec3b9c972ba" providerId="ADAL" clId="{04798C56-1619-44FF-99CC-951BCBEDA3B6}" dt="2021-10-16T11:14:51.998" v="2436"/>
          <ac:spMkLst>
            <pc:docMk/>
            <pc:sldMk cId="4001838037" sldId="530"/>
            <ac:spMk id="2" creationId="{B0491DAA-2211-497D-B366-2D81056B599B}"/>
          </ac:spMkLst>
        </pc:spChg>
        <pc:spChg chg="mod">
          <ac:chgData name="Thomas Stensitzki" userId="75cafe6b-2f2a-469b-85c4-eec3b9c972ba" providerId="ADAL" clId="{04798C56-1619-44FF-99CC-951BCBEDA3B6}" dt="2021-10-16T11:17:44.016" v="2803" actId="20577"/>
          <ac:spMkLst>
            <pc:docMk/>
            <pc:sldMk cId="4001838037" sldId="530"/>
            <ac:spMk id="3" creationId="{1150D9B8-210A-4612-9CCD-2CE3DFFD258F}"/>
          </ac:spMkLst>
        </pc:spChg>
      </pc:sldChg>
      <pc:sldChg chg="addSp delSp modSp new mod">
        <pc:chgData name="Thomas Stensitzki" userId="75cafe6b-2f2a-469b-85c4-eec3b9c972ba" providerId="ADAL" clId="{04798C56-1619-44FF-99CC-951BCBEDA3B6}" dt="2021-10-16T11:27:21.554" v="3001" actId="1076"/>
        <pc:sldMkLst>
          <pc:docMk/>
          <pc:sldMk cId="459788482" sldId="531"/>
        </pc:sldMkLst>
        <pc:spChg chg="mod">
          <ac:chgData name="Thomas Stensitzki" userId="75cafe6b-2f2a-469b-85c4-eec3b9c972ba" providerId="ADAL" clId="{04798C56-1619-44FF-99CC-951BCBEDA3B6}" dt="2021-10-16T11:22:16.085" v="2871"/>
          <ac:spMkLst>
            <pc:docMk/>
            <pc:sldMk cId="459788482" sldId="531"/>
            <ac:spMk id="2" creationId="{9A692100-D637-40AC-B465-436308DBF798}"/>
          </ac:spMkLst>
        </pc:spChg>
        <pc:spChg chg="mod">
          <ac:chgData name="Thomas Stensitzki" userId="75cafe6b-2f2a-469b-85c4-eec3b9c972ba" providerId="ADAL" clId="{04798C56-1619-44FF-99CC-951BCBEDA3B6}" dt="2021-10-16T11:24:48.505" v="2987" actId="14100"/>
          <ac:spMkLst>
            <pc:docMk/>
            <pc:sldMk cId="459788482" sldId="531"/>
            <ac:spMk id="3" creationId="{83208AB7-10CC-4D6E-BC26-AF9DC53A690D}"/>
          </ac:spMkLst>
        </pc:spChg>
        <pc:picChg chg="add mod">
          <ac:chgData name="Thomas Stensitzki" userId="75cafe6b-2f2a-469b-85c4-eec3b9c972ba" providerId="ADAL" clId="{04798C56-1619-44FF-99CC-951BCBEDA3B6}" dt="2021-10-16T11:26:12.772" v="2997" actId="1440"/>
          <ac:picMkLst>
            <pc:docMk/>
            <pc:sldMk cId="459788482" sldId="531"/>
            <ac:picMk id="5" creationId="{4D4BF80E-2A59-47C3-A019-BA83C8F8F996}"/>
          </ac:picMkLst>
        </pc:picChg>
        <pc:picChg chg="add del mod">
          <ac:chgData name="Thomas Stensitzki" userId="75cafe6b-2f2a-469b-85c4-eec3b9c972ba" providerId="ADAL" clId="{04798C56-1619-44FF-99CC-951BCBEDA3B6}" dt="2021-10-16T11:24:49.119" v="2988"/>
          <ac:picMkLst>
            <pc:docMk/>
            <pc:sldMk cId="459788482" sldId="531"/>
            <ac:picMk id="8194" creationId="{8B8AEE66-5CA1-4506-9A8B-509DA9B1A978}"/>
          </ac:picMkLst>
        </pc:picChg>
        <pc:picChg chg="add del mod">
          <ac:chgData name="Thomas Stensitzki" userId="75cafe6b-2f2a-469b-85c4-eec3b9c972ba" providerId="ADAL" clId="{04798C56-1619-44FF-99CC-951BCBEDA3B6}" dt="2021-10-16T11:25:44.167" v="2993" actId="478"/>
          <ac:picMkLst>
            <pc:docMk/>
            <pc:sldMk cId="459788482" sldId="531"/>
            <ac:picMk id="8196" creationId="{DB2EA760-F1EB-43B9-9FB8-FA608FEE1D28}"/>
          </ac:picMkLst>
        </pc:picChg>
        <pc:cxnChg chg="add mod">
          <ac:chgData name="Thomas Stensitzki" userId="75cafe6b-2f2a-469b-85c4-eec3b9c972ba" providerId="ADAL" clId="{04798C56-1619-44FF-99CC-951BCBEDA3B6}" dt="2021-10-16T11:27:21.554" v="3001" actId="1076"/>
          <ac:cxnSpMkLst>
            <pc:docMk/>
            <pc:sldMk cId="459788482" sldId="531"/>
            <ac:cxnSpMk id="8" creationId="{A41DC692-3D18-46E9-A378-1B84DD1F59A2}"/>
          </ac:cxnSpMkLst>
        </pc:cxnChg>
      </pc:sldChg>
      <pc:sldChg chg="modSp add mod ord">
        <pc:chgData name="Thomas Stensitzki" userId="75cafe6b-2f2a-469b-85c4-eec3b9c972ba" providerId="ADAL" clId="{04798C56-1619-44FF-99CC-951BCBEDA3B6}" dt="2021-10-18T06:58:32.773" v="4022" actId="1036"/>
        <pc:sldMkLst>
          <pc:docMk/>
          <pc:sldMk cId="1002663695" sldId="532"/>
        </pc:sldMkLst>
        <pc:spChg chg="mod">
          <ac:chgData name="Thomas Stensitzki" userId="75cafe6b-2f2a-469b-85c4-eec3b9c972ba" providerId="ADAL" clId="{04798C56-1619-44FF-99CC-951BCBEDA3B6}" dt="2021-10-18T06:58:32.773" v="4022" actId="1036"/>
          <ac:spMkLst>
            <pc:docMk/>
            <pc:sldMk cId="1002663695" sldId="532"/>
            <ac:spMk id="2" creationId="{909DC09D-B9A6-4493-9A72-1CA7ECB1F5CA}"/>
          </ac:spMkLst>
        </pc:spChg>
        <pc:spChg chg="mod">
          <ac:chgData name="Thomas Stensitzki" userId="75cafe6b-2f2a-469b-85c4-eec3b9c972ba" providerId="ADAL" clId="{04798C56-1619-44FF-99CC-951BCBEDA3B6}" dt="2021-10-16T11:44:42.795" v="3488"/>
          <ac:spMkLst>
            <pc:docMk/>
            <pc:sldMk cId="1002663695" sldId="532"/>
            <ac:spMk id="5" creationId="{C24DACB5-1BEC-4C86-9652-BAFD8DE56FEF}"/>
          </ac:spMkLst>
        </pc:spChg>
      </pc:sldChg>
      <pc:sldChg chg="modSp add mod ord">
        <pc:chgData name="Thomas Stensitzki" userId="75cafe6b-2f2a-469b-85c4-eec3b9c972ba" providerId="ADAL" clId="{04798C56-1619-44FF-99CC-951BCBEDA3B6}" dt="2021-10-18T07:04:02.151" v="4348" actId="1036"/>
        <pc:sldMkLst>
          <pc:docMk/>
          <pc:sldMk cId="3719475429" sldId="533"/>
        </pc:sldMkLst>
        <pc:spChg chg="mod">
          <ac:chgData name="Thomas Stensitzki" userId="75cafe6b-2f2a-469b-85c4-eec3b9c972ba" providerId="ADAL" clId="{04798C56-1619-44FF-99CC-951BCBEDA3B6}" dt="2021-10-18T07:04:02.151" v="4348" actId="1036"/>
          <ac:spMkLst>
            <pc:docMk/>
            <pc:sldMk cId="3719475429" sldId="533"/>
            <ac:spMk id="2" creationId="{909DC09D-B9A6-4493-9A72-1CA7ECB1F5CA}"/>
          </ac:spMkLst>
        </pc:spChg>
        <pc:spChg chg="mod">
          <ac:chgData name="Thomas Stensitzki" userId="75cafe6b-2f2a-469b-85c4-eec3b9c972ba" providerId="ADAL" clId="{04798C56-1619-44FF-99CC-951BCBEDA3B6}" dt="2021-10-18T07:03:50.310" v="4338" actId="6549"/>
          <ac:spMkLst>
            <pc:docMk/>
            <pc:sldMk cId="3719475429" sldId="533"/>
            <ac:spMk id="5" creationId="{C24DACB5-1BEC-4C86-9652-BAFD8DE56FEF}"/>
          </ac:spMkLst>
        </pc:spChg>
      </pc:sldChg>
      <pc:sldChg chg="addSp delSp modSp new mod modClrScheme chgLayout modNotesTx">
        <pc:chgData name="Thomas Stensitzki" userId="75cafe6b-2f2a-469b-85c4-eec3b9c972ba" providerId="ADAL" clId="{04798C56-1619-44FF-99CC-951BCBEDA3B6}" dt="2021-10-16T11:32:27.538" v="3047" actId="113"/>
        <pc:sldMkLst>
          <pc:docMk/>
          <pc:sldMk cId="3555038738" sldId="534"/>
        </pc:sldMkLst>
        <pc:spChg chg="mod ord">
          <ac:chgData name="Thomas Stensitzki" userId="75cafe6b-2f2a-469b-85c4-eec3b9c972ba" providerId="ADAL" clId="{04798C56-1619-44FF-99CC-951BCBEDA3B6}" dt="2021-10-16T11:31:44.321" v="3037" actId="5793"/>
          <ac:spMkLst>
            <pc:docMk/>
            <pc:sldMk cId="3555038738" sldId="534"/>
            <ac:spMk id="2" creationId="{F3EA054C-2C03-457B-9EA6-7DC02548D2F0}"/>
          </ac:spMkLst>
        </pc:spChg>
        <pc:spChg chg="del">
          <ac:chgData name="Thomas Stensitzki" userId="75cafe6b-2f2a-469b-85c4-eec3b9c972ba" providerId="ADAL" clId="{04798C56-1619-44FF-99CC-951BCBEDA3B6}" dt="2021-10-16T11:30:16.132" v="3015" actId="700"/>
          <ac:spMkLst>
            <pc:docMk/>
            <pc:sldMk cId="3555038738" sldId="534"/>
            <ac:spMk id="3" creationId="{B90489FA-BDAE-41A3-BF5F-364BFEBD10A7}"/>
          </ac:spMkLst>
        </pc:spChg>
        <pc:picChg chg="add mod">
          <ac:chgData name="Thomas Stensitzki" userId="75cafe6b-2f2a-469b-85c4-eec3b9c972ba" providerId="ADAL" clId="{04798C56-1619-44FF-99CC-951BCBEDA3B6}" dt="2021-10-16T11:30:54.222" v="3022" actId="14100"/>
          <ac:picMkLst>
            <pc:docMk/>
            <pc:sldMk cId="3555038738" sldId="534"/>
            <ac:picMk id="4" creationId="{34D5F48E-9275-4D51-B47D-8DB0BE183846}"/>
          </ac:picMkLst>
        </pc:picChg>
        <pc:picChg chg="add mod">
          <ac:chgData name="Thomas Stensitzki" userId="75cafe6b-2f2a-469b-85c4-eec3b9c972ba" providerId="ADAL" clId="{04798C56-1619-44FF-99CC-951BCBEDA3B6}" dt="2021-10-16T11:31:49.452" v="3038" actId="1076"/>
          <ac:picMkLst>
            <pc:docMk/>
            <pc:sldMk cId="3555038738" sldId="534"/>
            <ac:picMk id="9218" creationId="{F47B81C6-CB63-40EF-A313-E7716606F9F9}"/>
          </ac:picMkLst>
        </pc:picChg>
      </pc:sldChg>
      <pc:sldChg chg="addSp delSp modSp add mod">
        <pc:chgData name="Thomas Stensitzki" userId="75cafe6b-2f2a-469b-85c4-eec3b9c972ba" providerId="ADAL" clId="{04798C56-1619-44FF-99CC-951BCBEDA3B6}" dt="2021-10-16T11:32:03.627" v="3044" actId="1440"/>
        <pc:sldMkLst>
          <pc:docMk/>
          <pc:sldMk cId="89213568" sldId="535"/>
        </pc:sldMkLst>
        <pc:picChg chg="add mod">
          <ac:chgData name="Thomas Stensitzki" userId="75cafe6b-2f2a-469b-85c4-eec3b9c972ba" providerId="ADAL" clId="{04798C56-1619-44FF-99CC-951BCBEDA3B6}" dt="2021-10-16T11:32:03.627" v="3044" actId="1440"/>
          <ac:picMkLst>
            <pc:docMk/>
            <pc:sldMk cId="89213568" sldId="535"/>
            <ac:picMk id="3" creationId="{3B97F59B-4030-42F7-94D8-8C1FE516657F}"/>
          </ac:picMkLst>
        </pc:picChg>
        <pc:picChg chg="del">
          <ac:chgData name="Thomas Stensitzki" userId="75cafe6b-2f2a-469b-85c4-eec3b9c972ba" providerId="ADAL" clId="{04798C56-1619-44FF-99CC-951BCBEDA3B6}" dt="2021-10-16T11:31:52.271" v="3039" actId="478"/>
          <ac:picMkLst>
            <pc:docMk/>
            <pc:sldMk cId="89213568" sldId="535"/>
            <ac:picMk id="4" creationId="{34D5F48E-9275-4D51-B47D-8DB0BE183846}"/>
          </ac:picMkLst>
        </pc:picChg>
        <pc:picChg chg="del">
          <ac:chgData name="Thomas Stensitzki" userId="75cafe6b-2f2a-469b-85c4-eec3b9c972ba" providerId="ADAL" clId="{04798C56-1619-44FF-99CC-951BCBEDA3B6}" dt="2021-10-16T11:31:52.676" v="3040" actId="478"/>
          <ac:picMkLst>
            <pc:docMk/>
            <pc:sldMk cId="89213568" sldId="535"/>
            <ac:picMk id="9218" creationId="{F47B81C6-CB63-40EF-A313-E7716606F9F9}"/>
          </ac:picMkLst>
        </pc:picChg>
      </pc:sldChg>
      <pc:sldChg chg="addSp modSp add mod modClrScheme chgLayout">
        <pc:chgData name="Thomas Stensitzki" userId="75cafe6b-2f2a-469b-85c4-eec3b9c972ba" providerId="ADAL" clId="{04798C56-1619-44FF-99CC-951BCBEDA3B6}" dt="2021-10-16T11:44:08.289" v="3486" actId="20577"/>
        <pc:sldMkLst>
          <pc:docMk/>
          <pc:sldMk cId="3161842247" sldId="536"/>
        </pc:sldMkLst>
        <pc:spChg chg="mod ord">
          <ac:chgData name="Thomas Stensitzki" userId="75cafe6b-2f2a-469b-85c4-eec3b9c972ba" providerId="ADAL" clId="{04798C56-1619-44FF-99CC-951BCBEDA3B6}" dt="2021-10-16T11:40:00.345" v="3140" actId="700"/>
          <ac:spMkLst>
            <pc:docMk/>
            <pc:sldMk cId="3161842247" sldId="536"/>
            <ac:spMk id="2" creationId="{B8016162-B70C-4672-8C07-1762516DBD9A}"/>
          </ac:spMkLst>
        </pc:spChg>
        <pc:spChg chg="add mod ord">
          <ac:chgData name="Thomas Stensitzki" userId="75cafe6b-2f2a-469b-85c4-eec3b9c972ba" providerId="ADAL" clId="{04798C56-1619-44FF-99CC-951BCBEDA3B6}" dt="2021-10-16T11:44:08.289" v="3486" actId="20577"/>
          <ac:spMkLst>
            <pc:docMk/>
            <pc:sldMk cId="3161842247" sldId="536"/>
            <ac:spMk id="4" creationId="{4BE03C7F-5A9C-4420-BECB-1150EC706B50}"/>
          </ac:spMkLst>
        </pc:spChg>
        <pc:picChg chg="add mod">
          <ac:chgData name="Thomas Stensitzki" userId="75cafe6b-2f2a-469b-85c4-eec3b9c972ba" providerId="ADAL" clId="{04798C56-1619-44FF-99CC-951BCBEDA3B6}" dt="2021-10-16T11:43:00.019" v="3394" actId="1076"/>
          <ac:picMkLst>
            <pc:docMk/>
            <pc:sldMk cId="3161842247" sldId="536"/>
            <ac:picMk id="3" creationId="{585D2684-FF48-407A-9437-E3734865FDFE}"/>
          </ac:picMkLst>
        </pc:picChg>
      </pc:sldChg>
      <pc:sldChg chg="addSp modSp add mod modNotesTx">
        <pc:chgData name="Thomas Stensitzki" userId="75cafe6b-2f2a-469b-85c4-eec3b9c972ba" providerId="ADAL" clId="{04798C56-1619-44FF-99CC-951BCBEDA3B6}" dt="2021-10-16T11:45:48.736" v="3512" actId="1076"/>
        <pc:sldMkLst>
          <pc:docMk/>
          <pc:sldMk cId="273152899" sldId="537"/>
        </pc:sldMkLst>
        <pc:spChg chg="mod">
          <ac:chgData name="Thomas Stensitzki" userId="75cafe6b-2f2a-469b-85c4-eec3b9c972ba" providerId="ADAL" clId="{04798C56-1619-44FF-99CC-951BCBEDA3B6}" dt="2021-10-16T11:44:56.403" v="3489"/>
          <ac:spMkLst>
            <pc:docMk/>
            <pc:sldMk cId="273152899" sldId="537"/>
            <ac:spMk id="2" creationId="{B8016162-B70C-4672-8C07-1762516DBD9A}"/>
          </ac:spMkLst>
        </pc:spChg>
        <pc:picChg chg="add mod">
          <ac:chgData name="Thomas Stensitzki" userId="75cafe6b-2f2a-469b-85c4-eec3b9c972ba" providerId="ADAL" clId="{04798C56-1619-44FF-99CC-951BCBEDA3B6}" dt="2021-10-16T11:45:48.736" v="3512" actId="1076"/>
          <ac:picMkLst>
            <pc:docMk/>
            <pc:sldMk cId="273152899" sldId="537"/>
            <ac:picMk id="11266" creationId="{1CAA1F0D-AF5E-469F-BD6E-983D4ADF3CF5}"/>
          </ac:picMkLst>
        </pc:picChg>
        <pc:picChg chg="add mod">
          <ac:chgData name="Thomas Stensitzki" userId="75cafe6b-2f2a-469b-85c4-eec3b9c972ba" providerId="ADAL" clId="{04798C56-1619-44FF-99CC-951BCBEDA3B6}" dt="2021-10-16T11:45:46.299" v="3511" actId="1076"/>
          <ac:picMkLst>
            <pc:docMk/>
            <pc:sldMk cId="273152899" sldId="537"/>
            <ac:picMk id="11268" creationId="{1FFCE83E-C685-4E11-AF75-61C5AE51B2FC}"/>
          </ac:picMkLst>
        </pc:picChg>
      </pc:sldChg>
      <pc:sldChg chg="modSp add mod ord modNotesTx">
        <pc:chgData name="Thomas Stensitzki" userId="75cafe6b-2f2a-469b-85c4-eec3b9c972ba" providerId="ADAL" clId="{04798C56-1619-44FF-99CC-951BCBEDA3B6}" dt="2021-10-18T06:51:15.469" v="3578" actId="20577"/>
        <pc:sldMkLst>
          <pc:docMk/>
          <pc:sldMk cId="3101364963" sldId="538"/>
        </pc:sldMkLst>
        <pc:spChg chg="mod">
          <ac:chgData name="Thomas Stensitzki" userId="75cafe6b-2f2a-469b-85c4-eec3b9c972ba" providerId="ADAL" clId="{04798C56-1619-44FF-99CC-951BCBEDA3B6}" dt="2021-10-18T06:51:08.141" v="3555" actId="14100"/>
          <ac:spMkLst>
            <pc:docMk/>
            <pc:sldMk cId="3101364963" sldId="538"/>
            <ac:spMk id="2" creationId="{909DC09D-B9A6-4493-9A72-1CA7ECB1F5CA}"/>
          </ac:spMkLst>
        </pc:spChg>
      </pc:sldChg>
      <pc:sldChg chg="modSp add mod ord modNotesTx">
        <pc:chgData name="Thomas Stensitzki" userId="75cafe6b-2f2a-469b-85c4-eec3b9c972ba" providerId="ADAL" clId="{04798C56-1619-44FF-99CC-951BCBEDA3B6}" dt="2021-10-18T06:52:51.495" v="3715" actId="20577"/>
        <pc:sldMkLst>
          <pc:docMk/>
          <pc:sldMk cId="2457228316" sldId="539"/>
        </pc:sldMkLst>
        <pc:spChg chg="mod">
          <ac:chgData name="Thomas Stensitzki" userId="75cafe6b-2f2a-469b-85c4-eec3b9c972ba" providerId="ADAL" clId="{04798C56-1619-44FF-99CC-951BCBEDA3B6}" dt="2021-10-18T06:51:41.820" v="3614" actId="1035"/>
          <ac:spMkLst>
            <pc:docMk/>
            <pc:sldMk cId="2457228316" sldId="539"/>
            <ac:spMk id="2" creationId="{909DC09D-B9A6-4493-9A72-1CA7ECB1F5CA}"/>
          </ac:spMkLst>
        </pc:spChg>
      </pc:sldChg>
      <pc:sldChg chg="modSp add mod ord modNotesTx">
        <pc:chgData name="Thomas Stensitzki" userId="75cafe6b-2f2a-469b-85c4-eec3b9c972ba" providerId="ADAL" clId="{04798C56-1619-44FF-99CC-951BCBEDA3B6}" dt="2021-10-18T06:52:46.391" v="3714" actId="20577"/>
        <pc:sldMkLst>
          <pc:docMk/>
          <pc:sldMk cId="3084141999" sldId="540"/>
        </pc:sldMkLst>
        <pc:spChg chg="mod">
          <ac:chgData name="Thomas Stensitzki" userId="75cafe6b-2f2a-469b-85c4-eec3b9c972ba" providerId="ADAL" clId="{04798C56-1619-44FF-99CC-951BCBEDA3B6}" dt="2021-10-18T06:52:19.274" v="3658" actId="14100"/>
          <ac:spMkLst>
            <pc:docMk/>
            <pc:sldMk cId="3084141999" sldId="540"/>
            <ac:spMk id="2" creationId="{909DC09D-B9A6-4493-9A72-1CA7ECB1F5CA}"/>
          </ac:spMkLst>
        </pc:spChg>
      </pc:sldChg>
      <pc:sldChg chg="modSp add mod modNotesTx">
        <pc:chgData name="Thomas Stensitzki" userId="75cafe6b-2f2a-469b-85c4-eec3b9c972ba" providerId="ADAL" clId="{04798C56-1619-44FF-99CC-951BCBEDA3B6}" dt="2021-10-18T06:52:43.202" v="3713" actId="20577"/>
        <pc:sldMkLst>
          <pc:docMk/>
          <pc:sldMk cId="400379336" sldId="541"/>
        </pc:sldMkLst>
        <pc:spChg chg="mod">
          <ac:chgData name="Thomas Stensitzki" userId="75cafe6b-2f2a-469b-85c4-eec3b9c972ba" providerId="ADAL" clId="{04798C56-1619-44FF-99CC-951BCBEDA3B6}" dt="2021-10-18T06:52:36.004" v="3712" actId="1036"/>
          <ac:spMkLst>
            <pc:docMk/>
            <pc:sldMk cId="400379336" sldId="541"/>
            <ac:spMk id="2" creationId="{909DC09D-B9A6-4493-9A72-1CA7ECB1F5CA}"/>
          </ac:spMkLst>
        </pc:spChg>
      </pc:sldChg>
      <pc:sldChg chg="modSp add mod">
        <pc:chgData name="Thomas Stensitzki" userId="75cafe6b-2f2a-469b-85c4-eec3b9c972ba" providerId="ADAL" clId="{04798C56-1619-44FF-99CC-951BCBEDA3B6}" dt="2021-10-18T06:53:03.289" v="3751" actId="1035"/>
        <pc:sldMkLst>
          <pc:docMk/>
          <pc:sldMk cId="2825434786" sldId="542"/>
        </pc:sldMkLst>
        <pc:spChg chg="mod">
          <ac:chgData name="Thomas Stensitzki" userId="75cafe6b-2f2a-469b-85c4-eec3b9c972ba" providerId="ADAL" clId="{04798C56-1619-44FF-99CC-951BCBEDA3B6}" dt="2021-10-18T06:53:03.289" v="3751" actId="1035"/>
          <ac:spMkLst>
            <pc:docMk/>
            <pc:sldMk cId="2825434786" sldId="542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04798C56-1619-44FF-99CC-951BCBEDA3B6}" dt="2021-10-18T06:56:28.062" v="3832" actId="1036"/>
        <pc:sldMkLst>
          <pc:docMk/>
          <pc:sldMk cId="2440018585" sldId="543"/>
        </pc:sldMkLst>
        <pc:spChg chg="mod">
          <ac:chgData name="Thomas Stensitzki" userId="75cafe6b-2f2a-469b-85c4-eec3b9c972ba" providerId="ADAL" clId="{04798C56-1619-44FF-99CC-951BCBEDA3B6}" dt="2021-10-18T06:56:28.062" v="3832" actId="1036"/>
          <ac:spMkLst>
            <pc:docMk/>
            <pc:sldMk cId="2440018585" sldId="543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04798C56-1619-44FF-99CC-951BCBEDA3B6}" dt="2021-10-18T06:56:44.985" v="3870" actId="1036"/>
        <pc:sldMkLst>
          <pc:docMk/>
          <pc:sldMk cId="3405544507" sldId="544"/>
        </pc:sldMkLst>
        <pc:spChg chg="mod">
          <ac:chgData name="Thomas Stensitzki" userId="75cafe6b-2f2a-469b-85c4-eec3b9c972ba" providerId="ADAL" clId="{04798C56-1619-44FF-99CC-951BCBEDA3B6}" dt="2021-10-18T06:56:44.985" v="3870" actId="1036"/>
          <ac:spMkLst>
            <pc:docMk/>
            <pc:sldMk cId="3405544507" sldId="544"/>
            <ac:spMk id="2" creationId="{909DC09D-B9A6-4493-9A72-1CA7ECB1F5CA}"/>
          </ac:spMkLst>
        </pc:spChg>
      </pc:sldChg>
      <pc:sldChg chg="modSp add mod">
        <pc:chgData name="Thomas Stensitzki" userId="75cafe6b-2f2a-469b-85c4-eec3b9c972ba" providerId="ADAL" clId="{04798C56-1619-44FF-99CC-951BCBEDA3B6}" dt="2021-10-18T06:56:57.513" v="3891" actId="1035"/>
        <pc:sldMkLst>
          <pc:docMk/>
          <pc:sldMk cId="3435528560" sldId="545"/>
        </pc:sldMkLst>
        <pc:spChg chg="mod">
          <ac:chgData name="Thomas Stensitzki" userId="75cafe6b-2f2a-469b-85c4-eec3b9c972ba" providerId="ADAL" clId="{04798C56-1619-44FF-99CC-951BCBEDA3B6}" dt="2021-10-18T06:56:57.513" v="3891" actId="1035"/>
          <ac:spMkLst>
            <pc:docMk/>
            <pc:sldMk cId="3435528560" sldId="545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04798C56-1619-44FF-99CC-951BCBEDA3B6}" dt="2021-10-18T06:57:14.342" v="3927" actId="1035"/>
        <pc:sldMkLst>
          <pc:docMk/>
          <pc:sldMk cId="351288392" sldId="546"/>
        </pc:sldMkLst>
        <pc:spChg chg="mod">
          <ac:chgData name="Thomas Stensitzki" userId="75cafe6b-2f2a-469b-85c4-eec3b9c972ba" providerId="ADAL" clId="{04798C56-1619-44FF-99CC-951BCBEDA3B6}" dt="2021-10-18T06:57:14.342" v="3927" actId="1035"/>
          <ac:spMkLst>
            <pc:docMk/>
            <pc:sldMk cId="351288392" sldId="546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04798C56-1619-44FF-99CC-951BCBEDA3B6}" dt="2021-10-18T06:58:03.546" v="3954" actId="1035"/>
        <pc:sldMkLst>
          <pc:docMk/>
          <pc:sldMk cId="553914419" sldId="547"/>
        </pc:sldMkLst>
        <pc:spChg chg="mod">
          <ac:chgData name="Thomas Stensitzki" userId="75cafe6b-2f2a-469b-85c4-eec3b9c972ba" providerId="ADAL" clId="{04798C56-1619-44FF-99CC-951BCBEDA3B6}" dt="2021-10-18T06:58:03.546" v="3954" actId="1035"/>
          <ac:spMkLst>
            <pc:docMk/>
            <pc:sldMk cId="553914419" sldId="547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04798C56-1619-44FF-99CC-951BCBEDA3B6}" dt="2021-10-18T06:58:15.942" v="3992" actId="1036"/>
        <pc:sldMkLst>
          <pc:docMk/>
          <pc:sldMk cId="3814430672" sldId="548"/>
        </pc:sldMkLst>
        <pc:spChg chg="mod">
          <ac:chgData name="Thomas Stensitzki" userId="75cafe6b-2f2a-469b-85c4-eec3b9c972ba" providerId="ADAL" clId="{04798C56-1619-44FF-99CC-951BCBEDA3B6}" dt="2021-10-18T06:58:15.942" v="3992" actId="1036"/>
          <ac:spMkLst>
            <pc:docMk/>
            <pc:sldMk cId="3814430672" sldId="548"/>
            <ac:spMk id="2" creationId="{909DC09D-B9A6-4493-9A72-1CA7ECB1F5CA}"/>
          </ac:spMkLst>
        </pc:spChg>
      </pc:sldChg>
      <pc:sldChg chg="modSp add mod">
        <pc:chgData name="Thomas Stensitzki" userId="75cafe6b-2f2a-469b-85c4-eec3b9c972ba" providerId="ADAL" clId="{04798C56-1619-44FF-99CC-951BCBEDA3B6}" dt="2021-10-18T06:58:56.748" v="4024" actId="1076"/>
        <pc:sldMkLst>
          <pc:docMk/>
          <pc:sldMk cId="3585174972" sldId="549"/>
        </pc:sldMkLst>
        <pc:spChg chg="mod">
          <ac:chgData name="Thomas Stensitzki" userId="75cafe6b-2f2a-469b-85c4-eec3b9c972ba" providerId="ADAL" clId="{04798C56-1619-44FF-99CC-951BCBEDA3B6}" dt="2021-10-18T06:58:56.748" v="4024" actId="1076"/>
          <ac:spMkLst>
            <pc:docMk/>
            <pc:sldMk cId="3585174972" sldId="549"/>
            <ac:spMk id="2" creationId="{909DC09D-B9A6-4493-9A72-1CA7ECB1F5CA}"/>
          </ac:spMkLst>
        </pc:spChg>
      </pc:sldChg>
      <pc:sldChg chg="modSp add mod">
        <pc:chgData name="Thomas Stensitzki" userId="75cafe6b-2f2a-469b-85c4-eec3b9c972ba" providerId="ADAL" clId="{04798C56-1619-44FF-99CC-951BCBEDA3B6}" dt="2021-10-18T06:59:11.100" v="4027" actId="14100"/>
        <pc:sldMkLst>
          <pc:docMk/>
          <pc:sldMk cId="50830545" sldId="550"/>
        </pc:sldMkLst>
        <pc:spChg chg="mod">
          <ac:chgData name="Thomas Stensitzki" userId="75cafe6b-2f2a-469b-85c4-eec3b9c972ba" providerId="ADAL" clId="{04798C56-1619-44FF-99CC-951BCBEDA3B6}" dt="2021-10-18T06:59:11.100" v="4027" actId="14100"/>
          <ac:spMkLst>
            <pc:docMk/>
            <pc:sldMk cId="50830545" sldId="550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04798C56-1619-44FF-99CC-951BCBEDA3B6}" dt="2021-10-18T06:59:56.422" v="4061" actId="14100"/>
        <pc:sldMkLst>
          <pc:docMk/>
          <pc:sldMk cId="4020096464" sldId="551"/>
        </pc:sldMkLst>
        <pc:spChg chg="mod">
          <ac:chgData name="Thomas Stensitzki" userId="75cafe6b-2f2a-469b-85c4-eec3b9c972ba" providerId="ADAL" clId="{04798C56-1619-44FF-99CC-951BCBEDA3B6}" dt="2021-10-18T06:59:56.422" v="4061" actId="14100"/>
          <ac:spMkLst>
            <pc:docMk/>
            <pc:sldMk cId="4020096464" sldId="551"/>
            <ac:spMk id="2" creationId="{909DC09D-B9A6-4493-9A72-1CA7ECB1F5CA}"/>
          </ac:spMkLst>
        </pc:spChg>
      </pc:sldChg>
      <pc:sldChg chg="add ord">
        <pc:chgData name="Thomas Stensitzki" userId="75cafe6b-2f2a-469b-85c4-eec3b9c972ba" providerId="ADAL" clId="{04798C56-1619-44FF-99CC-951BCBEDA3B6}" dt="2021-10-18T06:59:43.415" v="4037"/>
        <pc:sldMkLst>
          <pc:docMk/>
          <pc:sldMk cId="2714743288" sldId="552"/>
        </pc:sldMkLst>
      </pc:sldChg>
      <pc:sldChg chg="modSp add mod">
        <pc:chgData name="Thomas Stensitzki" userId="75cafe6b-2f2a-469b-85c4-eec3b9c972ba" providerId="ADAL" clId="{04798C56-1619-44FF-99CC-951BCBEDA3B6}" dt="2021-10-18T07:00:34.488" v="4127" actId="14100"/>
        <pc:sldMkLst>
          <pc:docMk/>
          <pc:sldMk cId="941299666" sldId="553"/>
        </pc:sldMkLst>
        <pc:spChg chg="mod">
          <ac:chgData name="Thomas Stensitzki" userId="75cafe6b-2f2a-469b-85c4-eec3b9c972ba" providerId="ADAL" clId="{04798C56-1619-44FF-99CC-951BCBEDA3B6}" dt="2021-10-18T07:00:34.488" v="4127" actId="14100"/>
          <ac:spMkLst>
            <pc:docMk/>
            <pc:sldMk cId="941299666" sldId="553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04798C56-1619-44FF-99CC-951BCBEDA3B6}" dt="2021-10-18T07:01:16.434" v="4173" actId="1035"/>
        <pc:sldMkLst>
          <pc:docMk/>
          <pc:sldMk cId="2071923169" sldId="554"/>
        </pc:sldMkLst>
        <pc:spChg chg="mod">
          <ac:chgData name="Thomas Stensitzki" userId="75cafe6b-2f2a-469b-85c4-eec3b9c972ba" providerId="ADAL" clId="{04798C56-1619-44FF-99CC-951BCBEDA3B6}" dt="2021-10-18T07:01:16.434" v="4173" actId="1035"/>
          <ac:spMkLst>
            <pc:docMk/>
            <pc:sldMk cId="2071923169" sldId="554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04798C56-1619-44FF-99CC-951BCBEDA3B6}" dt="2021-10-18T07:01:53.554" v="4210" actId="1036"/>
        <pc:sldMkLst>
          <pc:docMk/>
          <pc:sldMk cId="1201850461" sldId="555"/>
        </pc:sldMkLst>
        <pc:spChg chg="mod">
          <ac:chgData name="Thomas Stensitzki" userId="75cafe6b-2f2a-469b-85c4-eec3b9c972ba" providerId="ADAL" clId="{04798C56-1619-44FF-99CC-951BCBEDA3B6}" dt="2021-10-18T07:01:53.554" v="4210" actId="1036"/>
          <ac:spMkLst>
            <pc:docMk/>
            <pc:sldMk cId="1201850461" sldId="555"/>
            <ac:spMk id="2" creationId="{909DC09D-B9A6-4493-9A72-1CA7ECB1F5CA}"/>
          </ac:spMkLst>
        </pc:spChg>
      </pc:sldChg>
      <pc:sldChg chg="add">
        <pc:chgData name="Thomas Stensitzki" userId="75cafe6b-2f2a-469b-85c4-eec3b9c972ba" providerId="ADAL" clId="{04798C56-1619-44FF-99CC-951BCBEDA3B6}" dt="2021-10-18T07:01:56.293" v="4211"/>
        <pc:sldMkLst>
          <pc:docMk/>
          <pc:sldMk cId="1634876817" sldId="556"/>
        </pc:sldMkLst>
      </pc:sldChg>
      <pc:sldChg chg="modSp add mod">
        <pc:chgData name="Thomas Stensitzki" userId="75cafe6b-2f2a-469b-85c4-eec3b9c972ba" providerId="ADAL" clId="{04798C56-1619-44FF-99CC-951BCBEDA3B6}" dt="2021-10-18T07:02:18.221" v="4260" actId="1035"/>
        <pc:sldMkLst>
          <pc:docMk/>
          <pc:sldMk cId="1953218065" sldId="557"/>
        </pc:sldMkLst>
        <pc:spChg chg="mod">
          <ac:chgData name="Thomas Stensitzki" userId="75cafe6b-2f2a-469b-85c4-eec3b9c972ba" providerId="ADAL" clId="{04798C56-1619-44FF-99CC-951BCBEDA3B6}" dt="2021-10-18T07:02:18.221" v="4260" actId="1035"/>
          <ac:spMkLst>
            <pc:docMk/>
            <pc:sldMk cId="1953218065" sldId="557"/>
            <ac:spMk id="2" creationId="{909DC09D-B9A6-4493-9A72-1CA7ECB1F5CA}"/>
          </ac:spMkLst>
        </pc:spChg>
      </pc:sldChg>
      <pc:sldChg chg="modSp add mod">
        <pc:chgData name="Thomas Stensitzki" userId="75cafe6b-2f2a-469b-85c4-eec3b9c972ba" providerId="ADAL" clId="{04798C56-1619-44FF-99CC-951BCBEDA3B6}" dt="2021-10-18T07:02:34.931" v="4294" actId="1036"/>
        <pc:sldMkLst>
          <pc:docMk/>
          <pc:sldMk cId="4180666764" sldId="558"/>
        </pc:sldMkLst>
        <pc:spChg chg="mod">
          <ac:chgData name="Thomas Stensitzki" userId="75cafe6b-2f2a-469b-85c4-eec3b9c972ba" providerId="ADAL" clId="{04798C56-1619-44FF-99CC-951BCBEDA3B6}" dt="2021-10-18T07:02:34.931" v="4294" actId="1036"/>
          <ac:spMkLst>
            <pc:docMk/>
            <pc:sldMk cId="4180666764" sldId="558"/>
            <ac:spMk id="2" creationId="{909DC09D-B9A6-4493-9A72-1CA7ECB1F5CA}"/>
          </ac:spMkLst>
        </pc:spChg>
      </pc:sldChg>
      <pc:sldChg chg="modSp add mod ord">
        <pc:chgData name="Thomas Stensitzki" userId="75cafe6b-2f2a-469b-85c4-eec3b9c972ba" providerId="ADAL" clId="{04798C56-1619-44FF-99CC-951BCBEDA3B6}" dt="2021-10-18T07:03:11.638" v="4326" actId="1036"/>
        <pc:sldMkLst>
          <pc:docMk/>
          <pc:sldMk cId="3051092088" sldId="559"/>
        </pc:sldMkLst>
        <pc:spChg chg="mod">
          <ac:chgData name="Thomas Stensitzki" userId="75cafe6b-2f2a-469b-85c4-eec3b9c972ba" providerId="ADAL" clId="{04798C56-1619-44FF-99CC-951BCBEDA3B6}" dt="2021-10-18T07:03:11.638" v="4326" actId="1036"/>
          <ac:spMkLst>
            <pc:docMk/>
            <pc:sldMk cId="3051092088" sldId="559"/>
            <ac:spMk id="2" creationId="{909DC09D-B9A6-4493-9A72-1CA7ECB1F5CA}"/>
          </ac:spMkLst>
        </pc:spChg>
      </pc:sldChg>
      <pc:sldChg chg="mod ord modShow">
        <pc:chgData name="Thomas Stensitzki" userId="75cafe6b-2f2a-469b-85c4-eec3b9c972ba" providerId="ADAL" clId="{04798C56-1619-44FF-99CC-951BCBEDA3B6}" dt="2021-10-21T13:33:51.755" v="5110" actId="729"/>
        <pc:sldMkLst>
          <pc:docMk/>
          <pc:sldMk cId="2791634409" sldId="560"/>
        </pc:sldMkLst>
      </pc:sldChg>
      <pc:sldChg chg="addSp delSp modSp add del mod">
        <pc:chgData name="Thomas Stensitzki" userId="75cafe6b-2f2a-469b-85c4-eec3b9c972ba" providerId="ADAL" clId="{04798C56-1619-44FF-99CC-951BCBEDA3B6}" dt="2021-10-21T13:33:32.121" v="5106" actId="47"/>
        <pc:sldMkLst>
          <pc:docMk/>
          <pc:sldMk cId="1728515471" sldId="561"/>
        </pc:sldMkLst>
        <pc:spChg chg="mod">
          <ac:chgData name="Thomas Stensitzki" userId="75cafe6b-2f2a-469b-85c4-eec3b9c972ba" providerId="ADAL" clId="{04798C56-1619-44FF-99CC-951BCBEDA3B6}" dt="2021-10-21T13:30:12.935" v="4830" actId="20577"/>
          <ac:spMkLst>
            <pc:docMk/>
            <pc:sldMk cId="1728515471" sldId="561"/>
            <ac:spMk id="2" creationId="{55B028BF-A9D0-4C57-86E7-6EE5916BE93B}"/>
          </ac:spMkLst>
        </pc:spChg>
        <pc:spChg chg="del">
          <ac:chgData name="Thomas Stensitzki" userId="75cafe6b-2f2a-469b-85c4-eec3b9c972ba" providerId="ADAL" clId="{04798C56-1619-44FF-99CC-951BCBEDA3B6}" dt="2021-10-21T13:30:01.997" v="4804" actId="3680"/>
          <ac:spMkLst>
            <pc:docMk/>
            <pc:sldMk cId="1728515471" sldId="561"/>
            <ac:spMk id="3" creationId="{21C24382-C9CB-4D3D-9C93-877D31F13E35}"/>
          </ac:spMkLst>
        </pc:spChg>
        <pc:graphicFrameChg chg="add mod ord modGraphic">
          <ac:chgData name="Thomas Stensitzki" userId="75cafe6b-2f2a-469b-85c4-eec3b9c972ba" providerId="ADAL" clId="{04798C56-1619-44FF-99CC-951BCBEDA3B6}" dt="2021-10-21T13:33:22.728" v="5104" actId="20577"/>
          <ac:graphicFrameMkLst>
            <pc:docMk/>
            <pc:sldMk cId="1728515471" sldId="561"/>
            <ac:graphicFrameMk id="4" creationId="{55EDB790-67BC-42E5-B64A-5647620B8383}"/>
          </ac:graphicFrameMkLst>
        </pc:graphicFrameChg>
      </pc:sldChg>
    </pc:docChg>
  </pc:docChgLst>
  <pc:docChgLst>
    <pc:chgData name="Thomas Stensitzki" userId="75cafe6b-2f2a-469b-85c4-eec3b9c972ba" providerId="ADAL" clId="{0B87B391-63D8-4860-8354-FA216B9E4DD7}"/>
    <pc:docChg chg="undo custSel modSld">
      <pc:chgData name="Thomas Stensitzki" userId="75cafe6b-2f2a-469b-85c4-eec3b9c972ba" providerId="ADAL" clId="{0B87B391-63D8-4860-8354-FA216B9E4DD7}" dt="2023-08-14T14:33:55.941" v="46"/>
      <pc:docMkLst>
        <pc:docMk/>
      </pc:docMkLst>
      <pc:sldChg chg="modSp mod">
        <pc:chgData name="Thomas Stensitzki" userId="75cafe6b-2f2a-469b-85c4-eec3b9c972ba" providerId="ADAL" clId="{0B87B391-63D8-4860-8354-FA216B9E4DD7}" dt="2023-08-14T14:32:16.531" v="20" actId="6549"/>
        <pc:sldMkLst>
          <pc:docMk/>
          <pc:sldMk cId="671489701" sldId="256"/>
        </pc:sldMkLst>
        <pc:spChg chg="mod">
          <ac:chgData name="Thomas Stensitzki" userId="75cafe6b-2f2a-469b-85c4-eec3b9c972ba" providerId="ADAL" clId="{0B87B391-63D8-4860-8354-FA216B9E4DD7}" dt="2023-08-14T14:32:16.531" v="20" actId="6549"/>
          <ac:spMkLst>
            <pc:docMk/>
            <pc:sldMk cId="671489701" sldId="256"/>
            <ac:spMk id="3" creationId="{CBA95633-B02D-4A15-A8B1-A38E0A70FD27}"/>
          </ac:spMkLst>
        </pc:spChg>
      </pc:sldChg>
      <pc:sldChg chg="modSp mod">
        <pc:chgData name="Thomas Stensitzki" userId="75cafe6b-2f2a-469b-85c4-eec3b9c972ba" providerId="ADAL" clId="{0B87B391-63D8-4860-8354-FA216B9E4DD7}" dt="2023-08-14T14:33:55.941" v="46"/>
        <pc:sldMkLst>
          <pc:docMk/>
          <pc:sldMk cId="2855324227" sldId="257"/>
        </pc:sldMkLst>
        <pc:graphicFrameChg chg="mod modGraphic">
          <ac:chgData name="Thomas Stensitzki" userId="75cafe6b-2f2a-469b-85c4-eec3b9c972ba" providerId="ADAL" clId="{0B87B391-63D8-4860-8354-FA216B9E4DD7}" dt="2023-08-14T14:33:55.941" v="46"/>
          <ac:graphicFrameMkLst>
            <pc:docMk/>
            <pc:sldMk cId="2855324227" sldId="257"/>
            <ac:graphicFrameMk id="6" creationId="{0F955DCC-462D-431D-BBDE-26F10687D590}"/>
          </ac:graphicFrameMkLst>
        </pc:graphicFrameChg>
      </pc:sldChg>
    </pc:docChg>
  </pc:docChgLst>
  <pc:docChgLst>
    <pc:chgData name="Thomas Stensitzki" userId="75cafe6b-2f2a-469b-85c4-eec3b9c972ba" providerId="ADAL" clId="{6E7BC4CE-A1B6-E044-AB96-223C5FC8A115}"/>
    <pc:docChg chg="custSel addSld delSld modSld sldOrd modSection">
      <pc:chgData name="Thomas Stensitzki" userId="75cafe6b-2f2a-469b-85c4-eec3b9c972ba" providerId="ADAL" clId="{6E7BC4CE-A1B6-E044-AB96-223C5FC8A115}" dt="2022-05-12T06:08:02.427" v="1358" actId="20577"/>
      <pc:docMkLst>
        <pc:docMk/>
      </pc:docMkLst>
      <pc:sldChg chg="modSp">
        <pc:chgData name="Thomas Stensitzki" userId="75cafe6b-2f2a-469b-85c4-eec3b9c972ba" providerId="ADAL" clId="{6E7BC4CE-A1B6-E044-AB96-223C5FC8A115}" dt="2022-05-12T06:08:02.427" v="1358" actId="20577"/>
        <pc:sldMkLst>
          <pc:docMk/>
          <pc:sldMk cId="2855324227" sldId="257"/>
        </pc:sldMkLst>
        <pc:graphicFrameChg chg="modGraphic">
          <ac:chgData name="Thomas Stensitzki" userId="75cafe6b-2f2a-469b-85c4-eec3b9c972ba" providerId="ADAL" clId="{6E7BC4CE-A1B6-E044-AB96-223C5FC8A115}" dt="2022-05-12T06:08:02.427" v="1358" actId="20577"/>
          <ac:graphicFrameMkLst>
            <pc:docMk/>
            <pc:sldMk cId="2855324227" sldId="257"/>
            <ac:graphicFrameMk id="6" creationId="{0F955DCC-462D-431D-BBDE-26F10687D590}"/>
          </ac:graphicFrameMkLst>
        </pc:graphicFrameChg>
      </pc:sldChg>
      <pc:sldChg chg="modSp">
        <pc:chgData name="Thomas Stensitzki" userId="75cafe6b-2f2a-469b-85c4-eec3b9c972ba" providerId="ADAL" clId="{6E7BC4CE-A1B6-E044-AB96-223C5FC8A115}" dt="2022-04-24T18:08:34.807" v="1293" actId="20577"/>
        <pc:sldMkLst>
          <pc:docMk/>
          <pc:sldMk cId="4007670073" sldId="268"/>
        </pc:sldMkLst>
        <pc:spChg chg="mod">
          <ac:chgData name="Thomas Stensitzki" userId="75cafe6b-2f2a-469b-85c4-eec3b9c972ba" providerId="ADAL" clId="{6E7BC4CE-A1B6-E044-AB96-223C5FC8A115}" dt="2022-04-24T18:08:34.807" v="1293" actId="20577"/>
          <ac:spMkLst>
            <pc:docMk/>
            <pc:sldMk cId="4007670073" sldId="268"/>
            <ac:spMk id="5" creationId="{F3459BE7-1731-4733-A912-12977C68CFD6}"/>
          </ac:spMkLst>
        </pc:spChg>
      </pc:sldChg>
      <pc:sldChg chg="del">
        <pc:chgData name="Thomas Stensitzki" userId="75cafe6b-2f2a-469b-85c4-eec3b9c972ba" providerId="ADAL" clId="{6E7BC4CE-A1B6-E044-AB96-223C5FC8A115}" dt="2022-04-24T18:09:29.350" v="1296" actId="2696"/>
        <pc:sldMkLst>
          <pc:docMk/>
          <pc:sldMk cId="53967156" sldId="297"/>
        </pc:sldMkLst>
      </pc:sldChg>
      <pc:sldChg chg="modSp">
        <pc:chgData name="Thomas Stensitzki" userId="75cafe6b-2f2a-469b-85c4-eec3b9c972ba" providerId="ADAL" clId="{6E7BC4CE-A1B6-E044-AB96-223C5FC8A115}" dt="2022-04-24T18:06:19.776" v="1230" actId="113"/>
        <pc:sldMkLst>
          <pc:docMk/>
          <pc:sldMk cId="2680249750" sldId="595"/>
        </pc:sldMkLst>
        <pc:spChg chg="mod">
          <ac:chgData name="Thomas Stensitzki" userId="75cafe6b-2f2a-469b-85c4-eec3b9c972ba" providerId="ADAL" clId="{6E7BC4CE-A1B6-E044-AB96-223C5FC8A115}" dt="2022-04-24T18:06:03.085" v="1226" actId="113"/>
          <ac:spMkLst>
            <pc:docMk/>
            <pc:sldMk cId="2680249750" sldId="595"/>
            <ac:spMk id="6" creationId="{03D53420-11EA-4D1B-9F13-CC90F632184E}"/>
          </ac:spMkLst>
        </pc:spChg>
        <pc:spChg chg="mod">
          <ac:chgData name="Thomas Stensitzki" userId="75cafe6b-2f2a-469b-85c4-eec3b9c972ba" providerId="ADAL" clId="{6E7BC4CE-A1B6-E044-AB96-223C5FC8A115}" dt="2022-04-24T18:06:10.863" v="1228" actId="255"/>
          <ac:spMkLst>
            <pc:docMk/>
            <pc:sldMk cId="2680249750" sldId="595"/>
            <ac:spMk id="7" creationId="{36EC7950-C586-452E-8736-1D139437B0BE}"/>
          </ac:spMkLst>
        </pc:spChg>
        <pc:spChg chg="mod">
          <ac:chgData name="Thomas Stensitzki" userId="75cafe6b-2f2a-469b-85c4-eec3b9c972ba" providerId="ADAL" clId="{6E7BC4CE-A1B6-E044-AB96-223C5FC8A115}" dt="2022-04-24T18:06:19.776" v="1230" actId="113"/>
          <ac:spMkLst>
            <pc:docMk/>
            <pc:sldMk cId="2680249750" sldId="595"/>
            <ac:spMk id="9" creationId="{183E4717-94DF-47D2-9915-B0740BADCA26}"/>
          </ac:spMkLst>
        </pc:spChg>
      </pc:sldChg>
      <pc:sldChg chg="modSp mod modClrScheme chgLayout">
        <pc:chgData name="Thomas Stensitzki" userId="75cafe6b-2f2a-469b-85c4-eec3b9c972ba" providerId="ADAL" clId="{6E7BC4CE-A1B6-E044-AB96-223C5FC8A115}" dt="2022-04-23T13:31:12.477" v="15" actId="1076"/>
        <pc:sldMkLst>
          <pc:docMk/>
          <pc:sldMk cId="1109434383" sldId="596"/>
        </pc:sldMkLst>
        <pc:spChg chg="mod ord">
          <ac:chgData name="Thomas Stensitzki" userId="75cafe6b-2f2a-469b-85c4-eec3b9c972ba" providerId="ADAL" clId="{6E7BC4CE-A1B6-E044-AB96-223C5FC8A115}" dt="2022-04-23T13:31:11.298" v="14" actId="20577"/>
          <ac:spMkLst>
            <pc:docMk/>
            <pc:sldMk cId="1109434383" sldId="596"/>
            <ac:spMk id="4" creationId="{041C0BDF-2374-4ACD-9289-35E2F2C5124D}"/>
          </ac:spMkLst>
        </pc:spChg>
        <pc:spChg chg="mod ord">
          <ac:chgData name="Thomas Stensitzki" userId="75cafe6b-2f2a-469b-85c4-eec3b9c972ba" providerId="ADAL" clId="{6E7BC4CE-A1B6-E044-AB96-223C5FC8A115}" dt="2022-04-23T13:31:12.477" v="15" actId="1076"/>
          <ac:spMkLst>
            <pc:docMk/>
            <pc:sldMk cId="1109434383" sldId="596"/>
            <ac:spMk id="5" creationId="{B1886A4C-E9E4-4111-BFDC-F9784FD52406}"/>
          </ac:spMkLst>
        </pc:spChg>
      </pc:sldChg>
      <pc:sldChg chg="modSp new mod modClrScheme chgLayout">
        <pc:chgData name="Thomas Stensitzki" userId="75cafe6b-2f2a-469b-85c4-eec3b9c972ba" providerId="ADAL" clId="{6E7BC4CE-A1B6-E044-AB96-223C5FC8A115}" dt="2022-04-23T13:35:57.013" v="396" actId="20577"/>
        <pc:sldMkLst>
          <pc:docMk/>
          <pc:sldMk cId="2098288780" sldId="597"/>
        </pc:sldMkLst>
        <pc:spChg chg="mod ord">
          <ac:chgData name="Thomas Stensitzki" userId="75cafe6b-2f2a-469b-85c4-eec3b9c972ba" providerId="ADAL" clId="{6E7BC4CE-A1B6-E044-AB96-223C5FC8A115}" dt="2022-04-23T13:31:43.130" v="38" actId="20577"/>
          <ac:spMkLst>
            <pc:docMk/>
            <pc:sldMk cId="2098288780" sldId="597"/>
            <ac:spMk id="2" creationId="{42DA031A-C25A-9457-35EB-F99DDD69A1A1}"/>
          </ac:spMkLst>
        </pc:spChg>
        <pc:spChg chg="mod ord">
          <ac:chgData name="Thomas Stensitzki" userId="75cafe6b-2f2a-469b-85c4-eec3b9c972ba" providerId="ADAL" clId="{6E7BC4CE-A1B6-E044-AB96-223C5FC8A115}" dt="2022-04-23T13:35:57.013" v="396" actId="20577"/>
          <ac:spMkLst>
            <pc:docMk/>
            <pc:sldMk cId="2098288780" sldId="597"/>
            <ac:spMk id="3" creationId="{26C8DA23-4FF8-3D58-B509-BFFD25A330F7}"/>
          </ac:spMkLst>
        </pc:spChg>
      </pc:sldChg>
      <pc:sldChg chg="modSp new">
        <pc:chgData name="Thomas Stensitzki" userId="75cafe6b-2f2a-469b-85c4-eec3b9c972ba" providerId="ADAL" clId="{6E7BC4CE-A1B6-E044-AB96-223C5FC8A115}" dt="2022-04-23T13:36:46.123" v="424" actId="20577"/>
        <pc:sldMkLst>
          <pc:docMk/>
          <pc:sldMk cId="2122712351" sldId="598"/>
        </pc:sldMkLst>
        <pc:spChg chg="mod">
          <ac:chgData name="Thomas Stensitzki" userId="75cafe6b-2f2a-469b-85c4-eec3b9c972ba" providerId="ADAL" clId="{6E7BC4CE-A1B6-E044-AB96-223C5FC8A115}" dt="2022-04-23T13:36:46.123" v="424" actId="20577"/>
          <ac:spMkLst>
            <pc:docMk/>
            <pc:sldMk cId="2122712351" sldId="598"/>
            <ac:spMk id="2" creationId="{1BC691DD-DCF8-E22A-F993-2C3F954C9BA6}"/>
          </ac:spMkLst>
        </pc:spChg>
      </pc:sldChg>
      <pc:sldChg chg="addSp delSp modSp add del ord">
        <pc:chgData name="Thomas Stensitzki" userId="75cafe6b-2f2a-469b-85c4-eec3b9c972ba" providerId="ADAL" clId="{6E7BC4CE-A1B6-E044-AB96-223C5FC8A115}" dt="2022-04-24T18:04:40.004" v="1225" actId="20577"/>
        <pc:sldMkLst>
          <pc:docMk/>
          <pc:sldMk cId="3219683340" sldId="600"/>
        </pc:sldMkLst>
        <pc:spChg chg="mod">
          <ac:chgData name="Thomas Stensitzki" userId="75cafe6b-2f2a-469b-85c4-eec3b9c972ba" providerId="ADAL" clId="{6E7BC4CE-A1B6-E044-AB96-223C5FC8A115}" dt="2022-04-24T18:01:09.387" v="1156" actId="20577"/>
          <ac:spMkLst>
            <pc:docMk/>
            <pc:sldMk cId="3219683340" sldId="600"/>
            <ac:spMk id="2" creationId="{42DA031A-C25A-9457-35EB-F99DDD69A1A1}"/>
          </ac:spMkLst>
        </pc:spChg>
        <pc:spChg chg="del mod">
          <ac:chgData name="Thomas Stensitzki" userId="75cafe6b-2f2a-469b-85c4-eec3b9c972ba" providerId="ADAL" clId="{6E7BC4CE-A1B6-E044-AB96-223C5FC8A115}" dt="2022-04-24T18:00:06.154" v="1150" actId="478"/>
          <ac:spMkLst>
            <pc:docMk/>
            <pc:sldMk cId="3219683340" sldId="600"/>
            <ac:spMk id="3" creationId="{26C8DA23-4FF8-3D58-B509-BFFD25A330F7}"/>
          </ac:spMkLst>
        </pc:spChg>
        <pc:spChg chg="add del mod">
          <ac:chgData name="Thomas Stensitzki" userId="75cafe6b-2f2a-469b-85c4-eec3b9c972ba" providerId="ADAL" clId="{6E7BC4CE-A1B6-E044-AB96-223C5FC8A115}" dt="2022-04-24T18:00:08.778" v="1151" actId="478"/>
          <ac:spMkLst>
            <pc:docMk/>
            <pc:sldMk cId="3219683340" sldId="600"/>
            <ac:spMk id="5" creationId="{AF05C41D-32C8-3AB4-098C-0BC45CAC0443}"/>
          </ac:spMkLst>
        </pc:spChg>
        <pc:spChg chg="add mod">
          <ac:chgData name="Thomas Stensitzki" userId="75cafe6b-2f2a-469b-85c4-eec3b9c972ba" providerId="ADAL" clId="{6E7BC4CE-A1B6-E044-AB96-223C5FC8A115}" dt="2022-04-24T18:00:55.964" v="1155" actId="17032"/>
          <ac:spMkLst>
            <pc:docMk/>
            <pc:sldMk cId="3219683340" sldId="600"/>
            <ac:spMk id="6" creationId="{B8352C24-DAF7-AA4A-95ED-E9347C155D0F}"/>
          </ac:spMkLst>
        </pc:spChg>
        <pc:spChg chg="add mod">
          <ac:chgData name="Thomas Stensitzki" userId="75cafe6b-2f2a-469b-85c4-eec3b9c972ba" providerId="ADAL" clId="{6E7BC4CE-A1B6-E044-AB96-223C5FC8A115}" dt="2022-04-24T18:03:55.434" v="1181" actId="208"/>
          <ac:spMkLst>
            <pc:docMk/>
            <pc:sldMk cId="3219683340" sldId="600"/>
            <ac:spMk id="7" creationId="{74833D07-425E-D0B9-7DE1-6DDF33012B13}"/>
          </ac:spMkLst>
        </pc:spChg>
        <pc:spChg chg="add mod">
          <ac:chgData name="Thomas Stensitzki" userId="75cafe6b-2f2a-469b-85c4-eec3b9c972ba" providerId="ADAL" clId="{6E7BC4CE-A1B6-E044-AB96-223C5FC8A115}" dt="2022-04-24T18:04:40.004" v="1225" actId="20577"/>
          <ac:spMkLst>
            <pc:docMk/>
            <pc:sldMk cId="3219683340" sldId="600"/>
            <ac:spMk id="9" creationId="{5D009486-2F96-7449-A37B-1EAC2B59D33E}"/>
          </ac:spMkLst>
        </pc:spChg>
      </pc:sldChg>
      <pc:sldChg chg="modSp add">
        <pc:chgData name="Thomas Stensitzki" userId="75cafe6b-2f2a-469b-85c4-eec3b9c972ba" providerId="ADAL" clId="{6E7BC4CE-A1B6-E044-AB96-223C5FC8A115}" dt="2022-04-24T17:32:32.457" v="550" actId="20577"/>
        <pc:sldMkLst>
          <pc:docMk/>
          <pc:sldMk cId="3760544869" sldId="603"/>
        </pc:sldMkLst>
        <pc:spChg chg="mod">
          <ac:chgData name="Thomas Stensitzki" userId="75cafe6b-2f2a-469b-85c4-eec3b9c972ba" providerId="ADAL" clId="{6E7BC4CE-A1B6-E044-AB96-223C5FC8A115}" dt="2022-04-24T17:32:32.457" v="550" actId="20577"/>
          <ac:spMkLst>
            <pc:docMk/>
            <pc:sldMk cId="3760544869" sldId="603"/>
            <ac:spMk id="2" creationId="{42DA031A-C25A-9457-35EB-F99DDD69A1A1}"/>
          </ac:spMkLst>
        </pc:spChg>
      </pc:sldChg>
      <pc:sldChg chg="modSp add">
        <pc:chgData name="Thomas Stensitzki" userId="75cafe6b-2f2a-469b-85c4-eec3b9c972ba" providerId="ADAL" clId="{6E7BC4CE-A1B6-E044-AB96-223C5FC8A115}" dt="2022-04-24T18:01:15.346" v="1157" actId="20577"/>
        <pc:sldMkLst>
          <pc:docMk/>
          <pc:sldMk cId="4098706796" sldId="604"/>
        </pc:sldMkLst>
        <pc:spChg chg="mod">
          <ac:chgData name="Thomas Stensitzki" userId="75cafe6b-2f2a-469b-85c4-eec3b9c972ba" providerId="ADAL" clId="{6E7BC4CE-A1B6-E044-AB96-223C5FC8A115}" dt="2022-04-24T18:01:15.346" v="1157" actId="20577"/>
          <ac:spMkLst>
            <pc:docMk/>
            <pc:sldMk cId="4098706796" sldId="604"/>
            <ac:spMk id="2" creationId="{42DA031A-C25A-9457-35EB-F99DDD69A1A1}"/>
          </ac:spMkLst>
        </pc:spChg>
        <pc:spChg chg="mod">
          <ac:chgData name="Thomas Stensitzki" userId="75cafe6b-2f2a-469b-85c4-eec3b9c972ba" providerId="ADAL" clId="{6E7BC4CE-A1B6-E044-AB96-223C5FC8A115}" dt="2022-04-24T17:40:57.489" v="1143" actId="20577"/>
          <ac:spMkLst>
            <pc:docMk/>
            <pc:sldMk cId="4098706796" sldId="604"/>
            <ac:spMk id="3" creationId="{26C8DA23-4FF8-3D58-B509-BFFD25A330F7}"/>
          </ac:spMkLst>
        </pc:spChg>
      </pc:sldChg>
      <pc:sldChg chg="add del">
        <pc:chgData name="Thomas Stensitzki" userId="75cafe6b-2f2a-469b-85c4-eec3b9c972ba" providerId="ADAL" clId="{6E7BC4CE-A1B6-E044-AB96-223C5FC8A115}" dt="2022-04-24T17:58:36.350" v="1147" actId="2696"/>
        <pc:sldMkLst>
          <pc:docMk/>
          <pc:sldMk cId="681312876" sldId="605"/>
        </pc:sldMkLst>
      </pc:sldChg>
      <pc:sldChg chg="modSp add">
        <pc:chgData name="Thomas Stensitzki" userId="75cafe6b-2f2a-469b-85c4-eec3b9c972ba" providerId="ADAL" clId="{6E7BC4CE-A1B6-E044-AB96-223C5FC8A115}" dt="2022-04-24T18:08:20.579" v="1290" actId="20577"/>
        <pc:sldMkLst>
          <pc:docMk/>
          <pc:sldMk cId="4145245121" sldId="605"/>
        </pc:sldMkLst>
        <pc:spChg chg="mod">
          <ac:chgData name="Thomas Stensitzki" userId="75cafe6b-2f2a-469b-85c4-eec3b9c972ba" providerId="ADAL" clId="{6E7BC4CE-A1B6-E044-AB96-223C5FC8A115}" dt="2022-04-24T18:08:20.579" v="1290" actId="20577"/>
          <ac:spMkLst>
            <pc:docMk/>
            <pc:sldMk cId="4145245121" sldId="605"/>
            <ac:spMk id="4" creationId="{6C908133-7121-4AFA-B3AD-60A9B860C54F}"/>
          </ac:spMkLst>
        </pc:spChg>
      </pc:sldChg>
      <pc:sldChg chg="modSp add ord">
        <pc:chgData name="Thomas Stensitzki" userId="75cafe6b-2f2a-469b-85c4-eec3b9c972ba" providerId="ADAL" clId="{6E7BC4CE-A1B6-E044-AB96-223C5FC8A115}" dt="2022-04-24T18:09:53.301" v="1346" actId="20577"/>
        <pc:sldMkLst>
          <pc:docMk/>
          <pc:sldMk cId="1856989855" sldId="606"/>
        </pc:sldMkLst>
        <pc:spChg chg="mod">
          <ac:chgData name="Thomas Stensitzki" userId="75cafe6b-2f2a-469b-85c4-eec3b9c972ba" providerId="ADAL" clId="{6E7BC4CE-A1B6-E044-AB96-223C5FC8A115}" dt="2022-04-24T18:09:53.301" v="1346" actId="20577"/>
          <ac:spMkLst>
            <pc:docMk/>
            <pc:sldMk cId="1856989855" sldId="606"/>
            <ac:spMk id="5" creationId="{F3459BE7-1731-4733-A912-12977C68CFD6}"/>
          </ac:spMkLst>
        </pc:spChg>
      </pc:sldChg>
    </pc:docChg>
  </pc:docChgLst>
  <pc:docChgLst>
    <pc:chgData name="Thomas Stensitzki" userId="75cafe6b-2f2a-469b-85c4-eec3b9c972ba" providerId="ADAL" clId="{ADB70B9A-E028-484E-93D9-2068C3FA1355}"/>
    <pc:docChg chg="undo custSel addSld delSld modSld sldOrd addSection delSection modSection">
      <pc:chgData name="Thomas Stensitzki" userId="75cafe6b-2f2a-469b-85c4-eec3b9c972ba" providerId="ADAL" clId="{ADB70B9A-E028-484E-93D9-2068C3FA1355}" dt="2023-03-02T18:00:37.343" v="1507" actId="6549"/>
      <pc:docMkLst>
        <pc:docMk/>
      </pc:docMkLst>
      <pc:sldChg chg="modSp mod modTransition">
        <pc:chgData name="Thomas Stensitzki" userId="75cafe6b-2f2a-469b-85c4-eec3b9c972ba" providerId="ADAL" clId="{ADB70B9A-E028-484E-93D9-2068C3FA1355}" dt="2023-03-01T15:15:23.115" v="1497"/>
        <pc:sldMkLst>
          <pc:docMk/>
          <pc:sldMk cId="671489701" sldId="256"/>
        </pc:sldMkLst>
        <pc:spChg chg="mod">
          <ac:chgData name="Thomas Stensitzki" userId="75cafe6b-2f2a-469b-85c4-eec3b9c972ba" providerId="ADAL" clId="{ADB70B9A-E028-484E-93D9-2068C3FA1355}" dt="2023-02-22T14:00:15.780" v="28" actId="20577"/>
          <ac:spMkLst>
            <pc:docMk/>
            <pc:sldMk cId="671489701" sldId="256"/>
            <ac:spMk id="3" creationId="{CBA95633-B02D-4A15-A8B1-A38E0A70FD27}"/>
          </ac:spMkLst>
        </pc:spChg>
      </pc:sldChg>
      <pc:sldChg chg="modSp mod modTransition">
        <pc:chgData name="Thomas Stensitzki" userId="75cafe6b-2f2a-469b-85c4-eec3b9c972ba" providerId="ADAL" clId="{ADB70B9A-E028-484E-93D9-2068C3FA1355}" dt="2023-03-01T15:15:23.115" v="1497"/>
        <pc:sldMkLst>
          <pc:docMk/>
          <pc:sldMk cId="2855324227" sldId="257"/>
        </pc:sldMkLst>
        <pc:graphicFrameChg chg="mod modGraphic">
          <ac:chgData name="Thomas Stensitzki" userId="75cafe6b-2f2a-469b-85c4-eec3b9c972ba" providerId="ADAL" clId="{ADB70B9A-E028-484E-93D9-2068C3FA1355}" dt="2023-02-22T14:02:06.872" v="64" actId="20577"/>
          <ac:graphicFrameMkLst>
            <pc:docMk/>
            <pc:sldMk cId="2855324227" sldId="257"/>
            <ac:graphicFrameMk id="6" creationId="{0F955DCC-462D-431D-BBDE-26F10687D590}"/>
          </ac:graphicFrameMkLst>
        </pc:graphicFrameChg>
      </pc:sldChg>
      <pc:sldChg chg="modSp mod modTransition">
        <pc:chgData name="Thomas Stensitzki" userId="75cafe6b-2f2a-469b-85c4-eec3b9c972ba" providerId="ADAL" clId="{ADB70B9A-E028-484E-93D9-2068C3FA1355}" dt="2023-03-01T15:20:25.153" v="1501" actId="20577"/>
        <pc:sldMkLst>
          <pc:docMk/>
          <pc:sldMk cId="3332792154" sldId="258"/>
        </pc:sldMkLst>
        <pc:spChg chg="mod">
          <ac:chgData name="Thomas Stensitzki" userId="75cafe6b-2f2a-469b-85c4-eec3b9c972ba" providerId="ADAL" clId="{ADB70B9A-E028-484E-93D9-2068C3FA1355}" dt="2023-03-01T15:20:25.153" v="1501" actId="20577"/>
          <ac:spMkLst>
            <pc:docMk/>
            <pc:sldMk cId="3332792154" sldId="258"/>
            <ac:spMk id="3" creationId="{3A5A44EB-7FB9-473A-8ED3-C49DDD2E65AB}"/>
          </ac:spMkLst>
        </pc:spChg>
      </pc:sldChg>
      <pc:sldChg chg="addSp modSp mod modTransition modShow">
        <pc:chgData name="Thomas Stensitzki" userId="75cafe6b-2f2a-469b-85c4-eec3b9c972ba" providerId="ADAL" clId="{ADB70B9A-E028-484E-93D9-2068C3FA1355}" dt="2023-03-02T14:47:15.346" v="1505" actId="729"/>
        <pc:sldMkLst>
          <pc:docMk/>
          <pc:sldMk cId="1545829058" sldId="259"/>
        </pc:sldMkLst>
        <pc:picChg chg="add mod">
          <ac:chgData name="Thomas Stensitzki" userId="75cafe6b-2f2a-469b-85c4-eec3b9c972ba" providerId="ADAL" clId="{ADB70B9A-E028-484E-93D9-2068C3FA1355}" dt="2023-03-02T14:47:02.317" v="1504" actId="1076"/>
          <ac:picMkLst>
            <pc:docMk/>
            <pc:sldMk cId="1545829058" sldId="259"/>
            <ac:picMk id="4" creationId="{31DC9F61-9044-6FE5-0374-686D575A8A28}"/>
          </ac:picMkLst>
        </pc:picChg>
      </pc:sldChg>
      <pc:sldChg chg="modSp mod modTransition">
        <pc:chgData name="Thomas Stensitzki" userId="75cafe6b-2f2a-469b-85c4-eec3b9c972ba" providerId="ADAL" clId="{ADB70B9A-E028-484E-93D9-2068C3FA1355}" dt="2023-03-01T15:15:23.115" v="1497"/>
        <pc:sldMkLst>
          <pc:docMk/>
          <pc:sldMk cId="2698998357" sldId="260"/>
        </pc:sldMkLst>
        <pc:spChg chg="mod">
          <ac:chgData name="Thomas Stensitzki" userId="75cafe6b-2f2a-469b-85c4-eec3b9c972ba" providerId="ADAL" clId="{ADB70B9A-E028-484E-93D9-2068C3FA1355}" dt="2023-02-22T14:01:22.756" v="51" actId="20577"/>
          <ac:spMkLst>
            <pc:docMk/>
            <pc:sldMk cId="2698998357" sldId="260"/>
            <ac:spMk id="4" creationId="{F3A15CBD-C746-44A3-A4F0-4898CE2F02E6}"/>
          </ac:spMkLst>
        </pc:spChg>
        <pc:spChg chg="mod">
          <ac:chgData name="Thomas Stensitzki" userId="75cafe6b-2f2a-469b-85c4-eec3b9c972ba" providerId="ADAL" clId="{ADB70B9A-E028-484E-93D9-2068C3FA1355}" dt="2023-02-22T14:01:17.588" v="50" actId="6549"/>
          <ac:spMkLst>
            <pc:docMk/>
            <pc:sldMk cId="2698998357" sldId="260"/>
            <ac:spMk id="5" creationId="{F3459BE7-1731-4733-A912-12977C68CFD6}"/>
          </ac:spMkLst>
        </pc:spChg>
      </pc:sldChg>
      <pc:sldChg chg="modSp add mod modTransition">
        <pc:chgData name="Thomas Stensitzki" userId="75cafe6b-2f2a-469b-85c4-eec3b9c972ba" providerId="ADAL" clId="{ADB70B9A-E028-484E-93D9-2068C3FA1355}" dt="2023-03-01T15:15:23.115" v="1497"/>
        <pc:sldMkLst>
          <pc:docMk/>
          <pc:sldMk cId="4007670073" sldId="268"/>
        </pc:sldMkLst>
        <pc:spChg chg="mod">
          <ac:chgData name="Thomas Stensitzki" userId="75cafe6b-2f2a-469b-85c4-eec3b9c972ba" providerId="ADAL" clId="{ADB70B9A-E028-484E-93D9-2068C3FA1355}" dt="2023-02-22T14:02:51.043" v="71" actId="20577"/>
          <ac:spMkLst>
            <pc:docMk/>
            <pc:sldMk cId="4007670073" sldId="268"/>
            <ac:spMk id="5" creationId="{F3459BE7-1731-4733-A912-12977C68CFD6}"/>
          </ac:spMkLst>
        </pc:spChg>
      </pc:sldChg>
      <pc:sldChg chg="modSp mod modTransition">
        <pc:chgData name="Thomas Stensitzki" userId="75cafe6b-2f2a-469b-85c4-eec3b9c972ba" providerId="ADAL" clId="{ADB70B9A-E028-484E-93D9-2068C3FA1355}" dt="2023-03-01T15:15:23.115" v="1497"/>
        <pc:sldMkLst>
          <pc:docMk/>
          <pc:sldMk cId="2721051844" sldId="269"/>
        </pc:sldMkLst>
        <pc:spChg chg="mod">
          <ac:chgData name="Thomas Stensitzki" userId="75cafe6b-2f2a-469b-85c4-eec3b9c972ba" providerId="ADAL" clId="{ADB70B9A-E028-484E-93D9-2068C3FA1355}" dt="2023-02-22T14:05:35.079" v="134" actId="20577"/>
          <ac:spMkLst>
            <pc:docMk/>
            <pc:sldMk cId="2721051844" sldId="269"/>
            <ac:spMk id="5" creationId="{C24DACB5-1BEC-4C86-9652-BAFD8DE56FEF}"/>
          </ac:spMkLst>
        </pc:spChg>
      </pc:sldChg>
      <pc:sldChg chg="modTransition">
        <pc:chgData name="Thomas Stensitzki" userId="75cafe6b-2f2a-469b-85c4-eec3b9c972ba" providerId="ADAL" clId="{ADB70B9A-E028-484E-93D9-2068C3FA1355}" dt="2023-03-01T15:15:23.115" v="1497"/>
        <pc:sldMkLst>
          <pc:docMk/>
          <pc:sldMk cId="1928334901" sldId="295"/>
        </pc:sldMkLst>
      </pc:sldChg>
      <pc:sldChg chg="modTransition">
        <pc:chgData name="Thomas Stensitzki" userId="75cafe6b-2f2a-469b-85c4-eec3b9c972ba" providerId="ADAL" clId="{ADB70B9A-E028-484E-93D9-2068C3FA1355}" dt="2023-03-01T15:15:23.115" v="1497"/>
        <pc:sldMkLst>
          <pc:docMk/>
          <pc:sldMk cId="2814967912" sldId="311"/>
        </pc:sldMkLst>
      </pc:sldChg>
      <pc:sldChg chg="modSp add mod modTransition">
        <pc:chgData name="Thomas Stensitzki" userId="75cafe6b-2f2a-469b-85c4-eec3b9c972ba" providerId="ADAL" clId="{ADB70B9A-E028-484E-93D9-2068C3FA1355}" dt="2023-03-01T15:15:23.115" v="1497"/>
        <pc:sldMkLst>
          <pc:docMk/>
          <pc:sldMk cId="2227487991" sldId="378"/>
        </pc:sldMkLst>
        <pc:spChg chg="mod">
          <ac:chgData name="Thomas Stensitzki" userId="75cafe6b-2f2a-469b-85c4-eec3b9c972ba" providerId="ADAL" clId="{ADB70B9A-E028-484E-93D9-2068C3FA1355}" dt="2023-02-22T15:21:53.403" v="260" actId="14100"/>
          <ac:spMkLst>
            <pc:docMk/>
            <pc:sldMk cId="2227487991" sldId="378"/>
            <ac:spMk id="2" creationId="{909DC09D-B9A6-4493-9A72-1CA7ECB1F5CA}"/>
          </ac:spMkLst>
        </pc:spChg>
        <pc:spChg chg="mod">
          <ac:chgData name="Thomas Stensitzki" userId="75cafe6b-2f2a-469b-85c4-eec3b9c972ba" providerId="ADAL" clId="{ADB70B9A-E028-484E-93D9-2068C3FA1355}" dt="2023-03-01T13:32:18.696" v="1356"/>
          <ac:spMkLst>
            <pc:docMk/>
            <pc:sldMk cId="2227487991" sldId="378"/>
            <ac:spMk id="5" creationId="{C24DACB5-1BEC-4C86-9652-BAFD8DE56FEF}"/>
          </ac:spMkLst>
        </pc:spChg>
      </pc:sldChg>
      <pc:sldChg chg="modTransition">
        <pc:chgData name="Thomas Stensitzki" userId="75cafe6b-2f2a-469b-85c4-eec3b9c972ba" providerId="ADAL" clId="{ADB70B9A-E028-484E-93D9-2068C3FA1355}" dt="2023-03-01T15:15:23.115" v="1497"/>
        <pc:sldMkLst>
          <pc:docMk/>
          <pc:sldMk cId="2923837414" sldId="513"/>
        </pc:sldMkLst>
      </pc:sldChg>
      <pc:sldChg chg="modTransition">
        <pc:chgData name="Thomas Stensitzki" userId="75cafe6b-2f2a-469b-85c4-eec3b9c972ba" providerId="ADAL" clId="{ADB70B9A-E028-484E-93D9-2068C3FA1355}" dt="2023-03-01T15:15:23.115" v="1497"/>
        <pc:sldMkLst>
          <pc:docMk/>
          <pc:sldMk cId="2395924320" sldId="514"/>
        </pc:sldMkLst>
      </pc:sldChg>
      <pc:sldChg chg="modSp add mod modTransition">
        <pc:chgData name="Thomas Stensitzki" userId="75cafe6b-2f2a-469b-85c4-eec3b9c972ba" providerId="ADAL" clId="{ADB70B9A-E028-484E-93D9-2068C3FA1355}" dt="2023-03-01T15:15:23.115" v="1497"/>
        <pc:sldMkLst>
          <pc:docMk/>
          <pc:sldMk cId="3797754622" sldId="515"/>
        </pc:sldMkLst>
        <pc:spChg chg="mod">
          <ac:chgData name="Thomas Stensitzki" userId="75cafe6b-2f2a-469b-85c4-eec3b9c972ba" providerId="ADAL" clId="{ADB70B9A-E028-484E-93D9-2068C3FA1355}" dt="2023-03-01T13:38:07.364" v="1417" actId="14100"/>
          <ac:spMkLst>
            <pc:docMk/>
            <pc:sldMk cId="3797754622" sldId="515"/>
            <ac:spMk id="2" creationId="{909DC09D-B9A6-4493-9A72-1CA7ECB1F5CA}"/>
          </ac:spMkLst>
        </pc:spChg>
        <pc:spChg chg="mod">
          <ac:chgData name="Thomas Stensitzki" userId="75cafe6b-2f2a-469b-85c4-eec3b9c972ba" providerId="ADAL" clId="{ADB70B9A-E028-484E-93D9-2068C3FA1355}" dt="2023-02-22T15:59:11.249" v="1279" actId="20577"/>
          <ac:spMkLst>
            <pc:docMk/>
            <pc:sldMk cId="3797754622" sldId="515"/>
            <ac:spMk id="5" creationId="{C24DACB5-1BEC-4C86-9652-BAFD8DE56FEF}"/>
          </ac:spMkLst>
        </pc:spChg>
      </pc:sldChg>
      <pc:sldChg chg="modTransition">
        <pc:chgData name="Thomas Stensitzki" userId="75cafe6b-2f2a-469b-85c4-eec3b9c972ba" providerId="ADAL" clId="{ADB70B9A-E028-484E-93D9-2068C3FA1355}" dt="2023-03-01T15:15:23.115" v="1497"/>
        <pc:sldMkLst>
          <pc:docMk/>
          <pc:sldMk cId="2791634409" sldId="560"/>
        </pc:sldMkLst>
      </pc:sldChg>
      <pc:sldChg chg="mod modTransition modShow">
        <pc:chgData name="Thomas Stensitzki" userId="75cafe6b-2f2a-469b-85c4-eec3b9c972ba" providerId="ADAL" clId="{ADB70B9A-E028-484E-93D9-2068C3FA1355}" dt="2023-03-01T15:20:04.607" v="1499" actId="729"/>
        <pc:sldMkLst>
          <pc:docMk/>
          <pc:sldMk cId="1728515471" sldId="561"/>
        </pc:sldMkLst>
      </pc:sldChg>
      <pc:sldChg chg="del">
        <pc:chgData name="Thomas Stensitzki" userId="75cafe6b-2f2a-469b-85c4-eec3b9c972ba" providerId="ADAL" clId="{ADB70B9A-E028-484E-93D9-2068C3FA1355}" dt="2023-02-22T14:06:20.967" v="137" actId="18676"/>
        <pc:sldMkLst>
          <pc:docMk/>
          <pc:sldMk cId="1856989855" sldId="606"/>
        </pc:sldMkLst>
      </pc:sldChg>
      <pc:sldChg chg="modTransition">
        <pc:chgData name="Thomas Stensitzki" userId="75cafe6b-2f2a-469b-85c4-eec3b9c972ba" providerId="ADAL" clId="{ADB70B9A-E028-484E-93D9-2068C3FA1355}" dt="2023-03-01T15:15:23.115" v="1497"/>
        <pc:sldMkLst>
          <pc:docMk/>
          <pc:sldMk cId="1051205786" sldId="607"/>
        </pc:sldMkLst>
      </pc:sldChg>
      <pc:sldChg chg="del">
        <pc:chgData name="Thomas Stensitzki" userId="75cafe6b-2f2a-469b-85c4-eec3b9c972ba" providerId="ADAL" clId="{ADB70B9A-E028-484E-93D9-2068C3FA1355}" dt="2023-02-22T14:06:20.967" v="137" actId="18676"/>
        <pc:sldMkLst>
          <pc:docMk/>
          <pc:sldMk cId="4003618409" sldId="608"/>
        </pc:sldMkLst>
      </pc:sldChg>
      <pc:sldChg chg="new del">
        <pc:chgData name="Thomas Stensitzki" userId="75cafe6b-2f2a-469b-85c4-eec3b9c972ba" providerId="ADAL" clId="{ADB70B9A-E028-484E-93D9-2068C3FA1355}" dt="2023-02-22T15:13:32.832" v="166" actId="47"/>
        <pc:sldMkLst>
          <pc:docMk/>
          <pc:sldMk cId="3017762970" sldId="609"/>
        </pc:sldMkLst>
      </pc:sldChg>
      <pc:sldChg chg="add del">
        <pc:chgData name="Thomas Stensitzki" userId="75cafe6b-2f2a-469b-85c4-eec3b9c972ba" providerId="ADAL" clId="{ADB70B9A-E028-484E-93D9-2068C3FA1355}" dt="2023-02-22T14:03:19.359" v="74" actId="47"/>
        <pc:sldMkLst>
          <pc:docMk/>
          <pc:sldMk cId="839699773" sldId="610"/>
        </pc:sldMkLst>
      </pc:sldChg>
      <pc:sldChg chg="add del">
        <pc:chgData name="Thomas Stensitzki" userId="75cafe6b-2f2a-469b-85c4-eec3b9c972ba" providerId="ADAL" clId="{ADB70B9A-E028-484E-93D9-2068C3FA1355}" dt="2023-02-22T14:02:34.696" v="67" actId="47"/>
        <pc:sldMkLst>
          <pc:docMk/>
          <pc:sldMk cId="1399224848" sldId="610"/>
        </pc:sldMkLst>
      </pc:sldChg>
      <pc:sldChg chg="modSp add mod modTransition">
        <pc:chgData name="Thomas Stensitzki" userId="75cafe6b-2f2a-469b-85c4-eec3b9c972ba" providerId="ADAL" clId="{ADB70B9A-E028-484E-93D9-2068C3FA1355}" dt="2023-03-01T15:15:23.115" v="1497"/>
        <pc:sldMkLst>
          <pc:docMk/>
          <pc:sldMk cId="1962477249" sldId="659"/>
        </pc:sldMkLst>
        <pc:spChg chg="mod">
          <ac:chgData name="Thomas Stensitzki" userId="75cafe6b-2f2a-469b-85c4-eec3b9c972ba" providerId="ADAL" clId="{ADB70B9A-E028-484E-93D9-2068C3FA1355}" dt="2023-02-22T14:06:07.245" v="136" actId="6549"/>
          <ac:spMkLst>
            <pc:docMk/>
            <pc:sldMk cId="1962477249" sldId="659"/>
            <ac:spMk id="5" creationId="{F3459BE7-1731-4733-A912-12977C68CFD6}"/>
          </ac:spMkLst>
        </pc:spChg>
      </pc:sldChg>
      <pc:sldChg chg="addSp delSp modSp new mod modTransition modNotesTx">
        <pc:chgData name="Thomas Stensitzki" userId="75cafe6b-2f2a-469b-85c4-eec3b9c972ba" providerId="ADAL" clId="{ADB70B9A-E028-484E-93D9-2068C3FA1355}" dt="2023-03-01T15:15:23.115" v="1497"/>
        <pc:sldMkLst>
          <pc:docMk/>
          <pc:sldMk cId="1307406210" sldId="660"/>
        </pc:sldMkLst>
        <pc:spChg chg="mod">
          <ac:chgData name="Thomas Stensitzki" userId="75cafe6b-2f2a-469b-85c4-eec3b9c972ba" providerId="ADAL" clId="{ADB70B9A-E028-484E-93D9-2068C3FA1355}" dt="2023-02-22T15:14:26.751" v="168"/>
          <ac:spMkLst>
            <pc:docMk/>
            <pc:sldMk cId="1307406210" sldId="660"/>
            <ac:spMk id="2" creationId="{75238B7F-9981-D55C-CE85-8DB712CB6E38}"/>
          </ac:spMkLst>
        </pc:spChg>
        <pc:spChg chg="del">
          <ac:chgData name="Thomas Stensitzki" userId="75cafe6b-2f2a-469b-85c4-eec3b9c972ba" providerId="ADAL" clId="{ADB70B9A-E028-484E-93D9-2068C3FA1355}" dt="2023-02-22T15:15:09.518" v="169" actId="478"/>
          <ac:spMkLst>
            <pc:docMk/>
            <pc:sldMk cId="1307406210" sldId="660"/>
            <ac:spMk id="3" creationId="{4BD5D4C0-ED60-714F-B695-57B38CCC7CFF}"/>
          </ac:spMkLst>
        </pc:spChg>
        <pc:picChg chg="add mod">
          <ac:chgData name="Thomas Stensitzki" userId="75cafe6b-2f2a-469b-85c4-eec3b9c972ba" providerId="ADAL" clId="{ADB70B9A-E028-484E-93D9-2068C3FA1355}" dt="2023-03-01T13:30:24.450" v="1347" actId="1440"/>
          <ac:picMkLst>
            <pc:docMk/>
            <pc:sldMk cId="1307406210" sldId="660"/>
            <ac:picMk id="4" creationId="{1272FF8F-2CC2-7DB8-1084-1150C72C5D60}"/>
          </ac:picMkLst>
        </pc:picChg>
        <pc:picChg chg="add del mod">
          <ac:chgData name="Thomas Stensitzki" userId="75cafe6b-2f2a-469b-85c4-eec3b9c972ba" providerId="ADAL" clId="{ADB70B9A-E028-484E-93D9-2068C3FA1355}" dt="2023-02-22T15:16:00.157" v="184" actId="478"/>
          <ac:picMkLst>
            <pc:docMk/>
            <pc:sldMk cId="1307406210" sldId="660"/>
            <ac:picMk id="1026" creationId="{4BC2D7BB-8D22-2656-DFF6-CABAF2CB2535}"/>
          </ac:picMkLst>
        </pc:picChg>
      </pc:sldChg>
      <pc:sldChg chg="delSp modSp add mod modTransition">
        <pc:chgData name="Thomas Stensitzki" userId="75cafe6b-2f2a-469b-85c4-eec3b9c972ba" providerId="ADAL" clId="{ADB70B9A-E028-484E-93D9-2068C3FA1355}" dt="2023-03-01T15:15:23.115" v="1497"/>
        <pc:sldMkLst>
          <pc:docMk/>
          <pc:sldMk cId="3311861693" sldId="661"/>
        </pc:sldMkLst>
        <pc:picChg chg="del">
          <ac:chgData name="Thomas Stensitzki" userId="75cafe6b-2f2a-469b-85c4-eec3b9c972ba" providerId="ADAL" clId="{ADB70B9A-E028-484E-93D9-2068C3FA1355}" dt="2023-02-22T15:15:54.593" v="182" actId="478"/>
          <ac:picMkLst>
            <pc:docMk/>
            <pc:sldMk cId="3311861693" sldId="661"/>
            <ac:picMk id="4" creationId="{1272FF8F-2CC2-7DB8-1084-1150C72C5D60}"/>
          </ac:picMkLst>
        </pc:picChg>
        <pc:picChg chg="mod">
          <ac:chgData name="Thomas Stensitzki" userId="75cafe6b-2f2a-469b-85c4-eec3b9c972ba" providerId="ADAL" clId="{ADB70B9A-E028-484E-93D9-2068C3FA1355}" dt="2023-03-01T13:30:21.051" v="1345" actId="1440"/>
          <ac:picMkLst>
            <pc:docMk/>
            <pc:sldMk cId="3311861693" sldId="661"/>
            <ac:picMk id="1026" creationId="{4BC2D7BB-8D22-2656-DFF6-CABAF2CB2535}"/>
          </ac:picMkLst>
        </pc:picChg>
      </pc:sldChg>
      <pc:sldChg chg="addSp delSp modSp new mod modTransition modNotesTx">
        <pc:chgData name="Thomas Stensitzki" userId="75cafe6b-2f2a-469b-85c4-eec3b9c972ba" providerId="ADAL" clId="{ADB70B9A-E028-484E-93D9-2068C3FA1355}" dt="2023-03-01T15:15:23.115" v="1497"/>
        <pc:sldMkLst>
          <pc:docMk/>
          <pc:sldMk cId="561974499" sldId="662"/>
        </pc:sldMkLst>
        <pc:spChg chg="mod">
          <ac:chgData name="Thomas Stensitzki" userId="75cafe6b-2f2a-469b-85c4-eec3b9c972ba" providerId="ADAL" clId="{ADB70B9A-E028-484E-93D9-2068C3FA1355}" dt="2023-02-22T15:20:56.709" v="236"/>
          <ac:spMkLst>
            <pc:docMk/>
            <pc:sldMk cId="561974499" sldId="662"/>
            <ac:spMk id="2" creationId="{66B6D1AB-3252-99CD-D68D-81ADE08F2139}"/>
          </ac:spMkLst>
        </pc:spChg>
        <pc:spChg chg="del">
          <ac:chgData name="Thomas Stensitzki" userId="75cafe6b-2f2a-469b-85c4-eec3b9c972ba" providerId="ADAL" clId="{ADB70B9A-E028-484E-93D9-2068C3FA1355}" dt="2023-02-22T15:20:58.839" v="237" actId="478"/>
          <ac:spMkLst>
            <pc:docMk/>
            <pc:sldMk cId="561974499" sldId="662"/>
            <ac:spMk id="3" creationId="{4DCC9CCA-3AED-9C1A-1B40-3C724319E77D}"/>
          </ac:spMkLst>
        </pc:spChg>
        <pc:picChg chg="add mod">
          <ac:chgData name="Thomas Stensitzki" userId="75cafe6b-2f2a-469b-85c4-eec3b9c972ba" providerId="ADAL" clId="{ADB70B9A-E028-484E-93D9-2068C3FA1355}" dt="2023-03-01T13:30:43.530" v="1353" actId="1440"/>
          <ac:picMkLst>
            <pc:docMk/>
            <pc:sldMk cId="561974499" sldId="662"/>
            <ac:picMk id="2050" creationId="{A79A94B8-95E5-A191-BAD5-FE9B99FB9734}"/>
          </ac:picMkLst>
        </pc:picChg>
        <pc:picChg chg="add mod">
          <ac:chgData name="Thomas Stensitzki" userId="75cafe6b-2f2a-469b-85c4-eec3b9c972ba" providerId="ADAL" clId="{ADB70B9A-E028-484E-93D9-2068C3FA1355}" dt="2023-03-01T13:30:44.372" v="1354" actId="1440"/>
          <ac:picMkLst>
            <pc:docMk/>
            <pc:sldMk cId="561974499" sldId="662"/>
            <ac:picMk id="2052" creationId="{78B28087-1AD1-A85D-439E-5401E7C109FD}"/>
          </ac:picMkLst>
        </pc:picChg>
      </pc:sldChg>
      <pc:sldChg chg="addSp delSp modSp new mod modTransition modClrScheme chgLayout">
        <pc:chgData name="Thomas Stensitzki" userId="75cafe6b-2f2a-469b-85c4-eec3b9c972ba" providerId="ADAL" clId="{ADB70B9A-E028-484E-93D9-2068C3FA1355}" dt="2023-03-02T18:00:37.343" v="1507" actId="6549"/>
        <pc:sldMkLst>
          <pc:docMk/>
          <pc:sldMk cId="102271189" sldId="663"/>
        </pc:sldMkLst>
        <pc:spChg chg="del mod ord">
          <ac:chgData name="Thomas Stensitzki" userId="75cafe6b-2f2a-469b-85c4-eec3b9c972ba" providerId="ADAL" clId="{ADB70B9A-E028-484E-93D9-2068C3FA1355}" dt="2023-02-22T15:22:00.660" v="262" actId="700"/>
          <ac:spMkLst>
            <pc:docMk/>
            <pc:sldMk cId="102271189" sldId="663"/>
            <ac:spMk id="2" creationId="{45650585-CDF9-EECB-7738-AEFA6ACA381B}"/>
          </ac:spMkLst>
        </pc:spChg>
        <pc:spChg chg="del">
          <ac:chgData name="Thomas Stensitzki" userId="75cafe6b-2f2a-469b-85c4-eec3b9c972ba" providerId="ADAL" clId="{ADB70B9A-E028-484E-93D9-2068C3FA1355}" dt="2023-02-22T15:22:00.660" v="262" actId="700"/>
          <ac:spMkLst>
            <pc:docMk/>
            <pc:sldMk cId="102271189" sldId="663"/>
            <ac:spMk id="3" creationId="{21B2C257-FF44-3D0B-D71F-63C346768626}"/>
          </ac:spMkLst>
        </pc:spChg>
        <pc:spChg chg="add mod ord">
          <ac:chgData name="Thomas Stensitzki" userId="75cafe6b-2f2a-469b-85c4-eec3b9c972ba" providerId="ADAL" clId="{ADB70B9A-E028-484E-93D9-2068C3FA1355}" dt="2023-02-22T15:22:23.016" v="266" actId="14100"/>
          <ac:spMkLst>
            <pc:docMk/>
            <pc:sldMk cId="102271189" sldId="663"/>
            <ac:spMk id="4" creationId="{5C8DB947-5C65-DED0-C531-EA3D61091C16}"/>
          </ac:spMkLst>
        </pc:spChg>
        <pc:spChg chg="add mod">
          <ac:chgData name="Thomas Stensitzki" userId="75cafe6b-2f2a-469b-85c4-eec3b9c972ba" providerId="ADAL" clId="{ADB70B9A-E028-484E-93D9-2068C3FA1355}" dt="2023-03-02T18:00:37.343" v="1507" actId="6549"/>
          <ac:spMkLst>
            <pc:docMk/>
            <pc:sldMk cId="102271189" sldId="663"/>
            <ac:spMk id="5" creationId="{5A287DD3-01EB-E86B-678B-3361BAC8C051}"/>
          </ac:spMkLst>
        </pc:spChg>
        <pc:picChg chg="add mod">
          <ac:chgData name="Thomas Stensitzki" userId="75cafe6b-2f2a-469b-85c4-eec3b9c972ba" providerId="ADAL" clId="{ADB70B9A-E028-484E-93D9-2068C3FA1355}" dt="2023-03-01T13:30:36.636" v="1352" actId="1440"/>
          <ac:picMkLst>
            <pc:docMk/>
            <pc:sldMk cId="102271189" sldId="663"/>
            <ac:picMk id="3074" creationId="{B7FDFC8E-D568-F227-C4BE-11E53D72E6E5}"/>
          </ac:picMkLst>
        </pc:picChg>
      </pc:sldChg>
      <pc:sldChg chg="addSp modSp new mod modTransition">
        <pc:chgData name="Thomas Stensitzki" userId="75cafe6b-2f2a-469b-85c4-eec3b9c972ba" providerId="ADAL" clId="{ADB70B9A-E028-484E-93D9-2068C3FA1355}" dt="2023-03-01T15:15:23.115" v="1497"/>
        <pc:sldMkLst>
          <pc:docMk/>
          <pc:sldMk cId="754705698" sldId="664"/>
        </pc:sldMkLst>
        <pc:spChg chg="mod">
          <ac:chgData name="Thomas Stensitzki" userId="75cafe6b-2f2a-469b-85c4-eec3b9c972ba" providerId="ADAL" clId="{ADB70B9A-E028-484E-93D9-2068C3FA1355}" dt="2023-02-22T15:30:30.213" v="831"/>
          <ac:spMkLst>
            <pc:docMk/>
            <pc:sldMk cId="754705698" sldId="664"/>
            <ac:spMk id="2" creationId="{57982170-16D6-31F5-5239-1E549E23353D}"/>
          </ac:spMkLst>
        </pc:spChg>
        <pc:picChg chg="add mod">
          <ac:chgData name="Thomas Stensitzki" userId="75cafe6b-2f2a-469b-85c4-eec3b9c972ba" providerId="ADAL" clId="{ADB70B9A-E028-484E-93D9-2068C3FA1355}" dt="2023-03-01T13:30:33.796" v="1351" actId="1440"/>
          <ac:picMkLst>
            <pc:docMk/>
            <pc:sldMk cId="754705698" sldId="664"/>
            <ac:picMk id="3" creationId="{C91664D2-EE03-6E0F-C883-B4D6D390D2A5}"/>
          </ac:picMkLst>
        </pc:picChg>
      </pc:sldChg>
      <pc:sldChg chg="addSp delSp modSp new del mod modClrScheme chgLayout">
        <pc:chgData name="Thomas Stensitzki" userId="75cafe6b-2f2a-469b-85c4-eec3b9c972ba" providerId="ADAL" clId="{ADB70B9A-E028-484E-93D9-2068C3FA1355}" dt="2023-02-22T15:30:24.915" v="829" actId="47"/>
        <pc:sldMkLst>
          <pc:docMk/>
          <pc:sldMk cId="3667017667" sldId="664"/>
        </pc:sldMkLst>
        <pc:spChg chg="del mod ord">
          <ac:chgData name="Thomas Stensitzki" userId="75cafe6b-2f2a-469b-85c4-eec3b9c972ba" providerId="ADAL" clId="{ADB70B9A-E028-484E-93D9-2068C3FA1355}" dt="2023-02-22T15:23:03.563" v="273" actId="700"/>
          <ac:spMkLst>
            <pc:docMk/>
            <pc:sldMk cId="3667017667" sldId="664"/>
            <ac:spMk id="2" creationId="{BE846C02-49F7-5DBE-AA3A-59EFBCBEFA46}"/>
          </ac:spMkLst>
        </pc:spChg>
        <pc:spChg chg="add mod ord">
          <ac:chgData name="Thomas Stensitzki" userId="75cafe6b-2f2a-469b-85c4-eec3b9c972ba" providerId="ADAL" clId="{ADB70B9A-E028-484E-93D9-2068C3FA1355}" dt="2023-02-22T15:23:03.563" v="273" actId="700"/>
          <ac:spMkLst>
            <pc:docMk/>
            <pc:sldMk cId="3667017667" sldId="664"/>
            <ac:spMk id="3" creationId="{E508E917-FE0B-97EF-0DFC-934B6B6398AE}"/>
          </ac:spMkLst>
        </pc:spChg>
        <pc:spChg chg="add mod ord">
          <ac:chgData name="Thomas Stensitzki" userId="75cafe6b-2f2a-469b-85c4-eec3b9c972ba" providerId="ADAL" clId="{ADB70B9A-E028-484E-93D9-2068C3FA1355}" dt="2023-02-22T15:23:24.854" v="279" actId="20577"/>
          <ac:spMkLst>
            <pc:docMk/>
            <pc:sldMk cId="3667017667" sldId="664"/>
            <ac:spMk id="4" creationId="{8A7A829A-164B-B87E-94BB-956172B5C7B0}"/>
          </ac:spMkLst>
        </pc:spChg>
      </pc:sldChg>
      <pc:sldChg chg="addSp modSp new mod modTransition">
        <pc:chgData name="Thomas Stensitzki" userId="75cafe6b-2f2a-469b-85c4-eec3b9c972ba" providerId="ADAL" clId="{ADB70B9A-E028-484E-93D9-2068C3FA1355}" dt="2023-03-01T15:15:23.115" v="1497"/>
        <pc:sldMkLst>
          <pc:docMk/>
          <pc:sldMk cId="3467690866" sldId="665"/>
        </pc:sldMkLst>
        <pc:spChg chg="mod">
          <ac:chgData name="Thomas Stensitzki" userId="75cafe6b-2f2a-469b-85c4-eec3b9c972ba" providerId="ADAL" clId="{ADB70B9A-E028-484E-93D9-2068C3FA1355}" dt="2023-02-22T15:31:52.160" v="842"/>
          <ac:spMkLst>
            <pc:docMk/>
            <pc:sldMk cId="3467690866" sldId="665"/>
            <ac:spMk id="2" creationId="{23C74054-08E8-6411-1F56-4D423D99D050}"/>
          </ac:spMkLst>
        </pc:spChg>
        <pc:picChg chg="add mod">
          <ac:chgData name="Thomas Stensitzki" userId="75cafe6b-2f2a-469b-85c4-eec3b9c972ba" providerId="ADAL" clId="{ADB70B9A-E028-484E-93D9-2068C3FA1355}" dt="2023-03-01T13:30:30.296" v="1349" actId="1440"/>
          <ac:picMkLst>
            <pc:docMk/>
            <pc:sldMk cId="3467690866" sldId="665"/>
            <ac:picMk id="4098" creationId="{0B835028-92CC-D43D-345D-92E3F9564D51}"/>
          </ac:picMkLst>
        </pc:picChg>
        <pc:picChg chg="add mod">
          <ac:chgData name="Thomas Stensitzki" userId="75cafe6b-2f2a-469b-85c4-eec3b9c972ba" providerId="ADAL" clId="{ADB70B9A-E028-484E-93D9-2068C3FA1355}" dt="2023-03-01T13:30:30.968" v="1350" actId="1440"/>
          <ac:picMkLst>
            <pc:docMk/>
            <pc:sldMk cId="3467690866" sldId="665"/>
            <ac:picMk id="4100" creationId="{DB750A15-9879-90F4-127D-1C1CCB3D7727}"/>
          </ac:picMkLst>
        </pc:picChg>
      </pc:sldChg>
      <pc:sldChg chg="addSp delSp modSp new mod modTransition modClrScheme chgLayout">
        <pc:chgData name="Thomas Stensitzki" userId="75cafe6b-2f2a-469b-85c4-eec3b9c972ba" providerId="ADAL" clId="{ADB70B9A-E028-484E-93D9-2068C3FA1355}" dt="2023-03-01T15:15:23.115" v="1497"/>
        <pc:sldMkLst>
          <pc:docMk/>
          <pc:sldMk cId="1478336555" sldId="666"/>
        </pc:sldMkLst>
        <pc:spChg chg="mod ord">
          <ac:chgData name="Thomas Stensitzki" userId="75cafe6b-2f2a-469b-85c4-eec3b9c972ba" providerId="ADAL" clId="{ADB70B9A-E028-484E-93D9-2068C3FA1355}" dt="2023-02-22T15:33:30.996" v="859" actId="700"/>
          <ac:spMkLst>
            <pc:docMk/>
            <pc:sldMk cId="1478336555" sldId="666"/>
            <ac:spMk id="2" creationId="{E6D50170-90F3-BE1D-65FD-F002339EB4B6}"/>
          </ac:spMkLst>
        </pc:spChg>
        <pc:spChg chg="del">
          <ac:chgData name="Thomas Stensitzki" userId="75cafe6b-2f2a-469b-85c4-eec3b9c972ba" providerId="ADAL" clId="{ADB70B9A-E028-484E-93D9-2068C3FA1355}" dt="2023-02-22T15:33:30.996" v="859" actId="700"/>
          <ac:spMkLst>
            <pc:docMk/>
            <pc:sldMk cId="1478336555" sldId="666"/>
            <ac:spMk id="3" creationId="{C7B4AE0E-DDA9-2B75-E065-7A50ED8A0754}"/>
          </ac:spMkLst>
        </pc:spChg>
        <pc:picChg chg="add mod">
          <ac:chgData name="Thomas Stensitzki" userId="75cafe6b-2f2a-469b-85c4-eec3b9c972ba" providerId="ADAL" clId="{ADB70B9A-E028-484E-93D9-2068C3FA1355}" dt="2023-03-01T13:30:22.787" v="1346" actId="1440"/>
          <ac:picMkLst>
            <pc:docMk/>
            <pc:sldMk cId="1478336555" sldId="666"/>
            <ac:picMk id="5122" creationId="{36D1FD63-8C89-5A50-6C34-4012ADC93A3C}"/>
          </ac:picMkLst>
        </pc:picChg>
        <pc:picChg chg="add del">
          <ac:chgData name="Thomas Stensitzki" userId="75cafe6b-2f2a-469b-85c4-eec3b9c972ba" providerId="ADAL" clId="{ADB70B9A-E028-484E-93D9-2068C3FA1355}" dt="2023-02-22T15:37:15.634" v="888" actId="478"/>
          <ac:picMkLst>
            <pc:docMk/>
            <pc:sldMk cId="1478336555" sldId="666"/>
            <ac:picMk id="5124" creationId="{82B0D065-1B71-11CF-1DA0-3B0D89378AF5}"/>
          </ac:picMkLst>
        </pc:picChg>
      </pc:sldChg>
      <pc:sldChg chg="addSp delSp modSp add modTransition">
        <pc:chgData name="Thomas Stensitzki" userId="75cafe6b-2f2a-469b-85c4-eec3b9c972ba" providerId="ADAL" clId="{ADB70B9A-E028-484E-93D9-2068C3FA1355}" dt="2023-03-01T15:15:23.115" v="1497"/>
        <pc:sldMkLst>
          <pc:docMk/>
          <pc:sldMk cId="4080389735" sldId="667"/>
        </pc:sldMkLst>
        <pc:picChg chg="del">
          <ac:chgData name="Thomas Stensitzki" userId="75cafe6b-2f2a-469b-85c4-eec3b9c972ba" providerId="ADAL" clId="{ADB70B9A-E028-484E-93D9-2068C3FA1355}" dt="2023-02-22T15:37:25.873" v="891" actId="478"/>
          <ac:picMkLst>
            <pc:docMk/>
            <pc:sldMk cId="4080389735" sldId="667"/>
            <ac:picMk id="5122" creationId="{36D1FD63-8C89-5A50-6C34-4012ADC93A3C}"/>
          </ac:picMkLst>
        </pc:picChg>
        <pc:picChg chg="add mod">
          <ac:chgData name="Thomas Stensitzki" userId="75cafe6b-2f2a-469b-85c4-eec3b9c972ba" providerId="ADAL" clId="{ADB70B9A-E028-484E-93D9-2068C3FA1355}" dt="2023-03-01T13:30:19.133" v="1344" actId="1440"/>
          <ac:picMkLst>
            <pc:docMk/>
            <pc:sldMk cId="4080389735" sldId="667"/>
            <ac:picMk id="6146" creationId="{343F0AB9-C375-CA9F-F09A-13B613F97B37}"/>
          </ac:picMkLst>
        </pc:picChg>
      </pc:sldChg>
      <pc:sldChg chg="addSp delSp modSp add mod modTransition modNotesTx">
        <pc:chgData name="Thomas Stensitzki" userId="75cafe6b-2f2a-469b-85c4-eec3b9c972ba" providerId="ADAL" clId="{ADB70B9A-E028-484E-93D9-2068C3FA1355}" dt="2023-03-01T15:15:23.115" v="1497"/>
        <pc:sldMkLst>
          <pc:docMk/>
          <pc:sldMk cId="3202947217" sldId="668"/>
        </pc:sldMkLst>
        <pc:spChg chg="mod">
          <ac:chgData name="Thomas Stensitzki" userId="75cafe6b-2f2a-469b-85c4-eec3b9c972ba" providerId="ADAL" clId="{ADB70B9A-E028-484E-93D9-2068C3FA1355}" dt="2023-02-22T15:38:16.243" v="919" actId="20577"/>
          <ac:spMkLst>
            <pc:docMk/>
            <pc:sldMk cId="3202947217" sldId="668"/>
            <ac:spMk id="2" creationId="{E6D50170-90F3-BE1D-65FD-F002339EB4B6}"/>
          </ac:spMkLst>
        </pc:spChg>
        <pc:picChg chg="del">
          <ac:chgData name="Thomas Stensitzki" userId="75cafe6b-2f2a-469b-85c4-eec3b9c972ba" providerId="ADAL" clId="{ADB70B9A-E028-484E-93D9-2068C3FA1355}" dt="2023-02-22T15:37:42.711" v="896" actId="478"/>
          <ac:picMkLst>
            <pc:docMk/>
            <pc:sldMk cId="3202947217" sldId="668"/>
            <ac:picMk id="6146" creationId="{343F0AB9-C375-CA9F-F09A-13B613F97B37}"/>
          </ac:picMkLst>
        </pc:picChg>
        <pc:picChg chg="add mod">
          <ac:chgData name="Thomas Stensitzki" userId="75cafe6b-2f2a-469b-85c4-eec3b9c972ba" providerId="ADAL" clId="{ADB70B9A-E028-484E-93D9-2068C3FA1355}" dt="2023-03-01T13:30:15.277" v="1343" actId="1440"/>
          <ac:picMkLst>
            <pc:docMk/>
            <pc:sldMk cId="3202947217" sldId="668"/>
            <ac:picMk id="7170" creationId="{6522AE0F-71D6-B7C1-CAB9-E6AF2F71DE94}"/>
          </ac:picMkLst>
        </pc:picChg>
      </pc:sldChg>
      <pc:sldChg chg="addSp delSp modSp add modTransition">
        <pc:chgData name="Thomas Stensitzki" userId="75cafe6b-2f2a-469b-85c4-eec3b9c972ba" providerId="ADAL" clId="{ADB70B9A-E028-484E-93D9-2068C3FA1355}" dt="2023-03-01T15:15:23.115" v="1497"/>
        <pc:sldMkLst>
          <pc:docMk/>
          <pc:sldMk cId="2193982032" sldId="669"/>
        </pc:sldMkLst>
        <pc:picChg chg="del">
          <ac:chgData name="Thomas Stensitzki" userId="75cafe6b-2f2a-469b-85c4-eec3b9c972ba" providerId="ADAL" clId="{ADB70B9A-E028-484E-93D9-2068C3FA1355}" dt="2023-02-22T15:38:50.810" v="922" actId="478"/>
          <ac:picMkLst>
            <pc:docMk/>
            <pc:sldMk cId="2193982032" sldId="669"/>
            <ac:picMk id="7170" creationId="{6522AE0F-71D6-B7C1-CAB9-E6AF2F71DE94}"/>
          </ac:picMkLst>
        </pc:picChg>
        <pc:picChg chg="add mod">
          <ac:chgData name="Thomas Stensitzki" userId="75cafe6b-2f2a-469b-85c4-eec3b9c972ba" providerId="ADAL" clId="{ADB70B9A-E028-484E-93D9-2068C3FA1355}" dt="2023-03-01T13:30:12.192" v="1342" actId="1440"/>
          <ac:picMkLst>
            <pc:docMk/>
            <pc:sldMk cId="2193982032" sldId="669"/>
            <ac:picMk id="8194" creationId="{AE5E9761-6237-FD76-DE49-4EFBB6292572}"/>
          </ac:picMkLst>
        </pc:picChg>
      </pc:sldChg>
      <pc:sldChg chg="addSp modSp new mod modTransition">
        <pc:chgData name="Thomas Stensitzki" userId="75cafe6b-2f2a-469b-85c4-eec3b9c972ba" providerId="ADAL" clId="{ADB70B9A-E028-484E-93D9-2068C3FA1355}" dt="2023-03-01T15:15:23.115" v="1497"/>
        <pc:sldMkLst>
          <pc:docMk/>
          <pc:sldMk cId="122818087" sldId="670"/>
        </pc:sldMkLst>
        <pc:spChg chg="mod">
          <ac:chgData name="Thomas Stensitzki" userId="75cafe6b-2f2a-469b-85c4-eec3b9c972ba" providerId="ADAL" clId="{ADB70B9A-E028-484E-93D9-2068C3FA1355}" dt="2023-02-22T15:42:38.695" v="963"/>
          <ac:spMkLst>
            <pc:docMk/>
            <pc:sldMk cId="122818087" sldId="670"/>
            <ac:spMk id="2" creationId="{D6485D92-4F89-F269-A09F-2729E827039F}"/>
          </ac:spMkLst>
        </pc:spChg>
        <pc:picChg chg="add mod">
          <ac:chgData name="Thomas Stensitzki" userId="75cafe6b-2f2a-469b-85c4-eec3b9c972ba" providerId="ADAL" clId="{ADB70B9A-E028-484E-93D9-2068C3FA1355}" dt="2023-03-01T13:30:27.958" v="1348" actId="1440"/>
          <ac:picMkLst>
            <pc:docMk/>
            <pc:sldMk cId="122818087" sldId="670"/>
            <ac:picMk id="9218" creationId="{51286DDB-E39A-B097-A136-52CE7C17F37B}"/>
          </ac:picMkLst>
        </pc:picChg>
      </pc:sldChg>
      <pc:sldChg chg="addSp delSp modSp new mod modTransition modClrScheme chgLayout">
        <pc:chgData name="Thomas Stensitzki" userId="75cafe6b-2f2a-469b-85c4-eec3b9c972ba" providerId="ADAL" clId="{ADB70B9A-E028-484E-93D9-2068C3FA1355}" dt="2023-03-01T15:15:23.115" v="1497"/>
        <pc:sldMkLst>
          <pc:docMk/>
          <pc:sldMk cId="2909463456" sldId="671"/>
        </pc:sldMkLst>
        <pc:spChg chg="del mod ord">
          <ac:chgData name="Thomas Stensitzki" userId="75cafe6b-2f2a-469b-85c4-eec3b9c972ba" providerId="ADAL" clId="{ADB70B9A-E028-484E-93D9-2068C3FA1355}" dt="2023-02-22T15:49:10.643" v="1005" actId="700"/>
          <ac:spMkLst>
            <pc:docMk/>
            <pc:sldMk cId="2909463456" sldId="671"/>
            <ac:spMk id="2" creationId="{90B390A1-B881-0CD4-FB35-06ECE615BF13}"/>
          </ac:spMkLst>
        </pc:spChg>
        <pc:spChg chg="add mod ord">
          <ac:chgData name="Thomas Stensitzki" userId="75cafe6b-2f2a-469b-85c4-eec3b9c972ba" providerId="ADAL" clId="{ADB70B9A-E028-484E-93D9-2068C3FA1355}" dt="2023-03-01T13:29:23.613" v="1333" actId="108"/>
          <ac:spMkLst>
            <pc:docMk/>
            <pc:sldMk cId="2909463456" sldId="671"/>
            <ac:spMk id="3" creationId="{E1590F97-E143-D15B-9087-EF0A4139FEEA}"/>
          </ac:spMkLst>
        </pc:spChg>
        <pc:spChg chg="add mod ord">
          <ac:chgData name="Thomas Stensitzki" userId="75cafe6b-2f2a-469b-85c4-eec3b9c972ba" providerId="ADAL" clId="{ADB70B9A-E028-484E-93D9-2068C3FA1355}" dt="2023-02-22T15:53:35.143" v="1270" actId="20577"/>
          <ac:spMkLst>
            <pc:docMk/>
            <pc:sldMk cId="2909463456" sldId="671"/>
            <ac:spMk id="4" creationId="{16579E0E-6A74-E6FD-E614-EFEA424E104F}"/>
          </ac:spMkLst>
        </pc:spChg>
      </pc:sldChg>
      <pc:sldChg chg="addSp delSp modSp new mod modTransition modClrScheme chgLayout">
        <pc:chgData name="Thomas Stensitzki" userId="75cafe6b-2f2a-469b-85c4-eec3b9c972ba" providerId="ADAL" clId="{ADB70B9A-E028-484E-93D9-2068C3FA1355}" dt="2023-03-01T15:18:03.084" v="1498" actId="1440"/>
        <pc:sldMkLst>
          <pc:docMk/>
          <pc:sldMk cId="1253155529" sldId="672"/>
        </pc:sldMkLst>
        <pc:spChg chg="del mod ord">
          <ac:chgData name="Thomas Stensitzki" userId="75cafe6b-2f2a-469b-85c4-eec3b9c972ba" providerId="ADAL" clId="{ADB70B9A-E028-484E-93D9-2068C3FA1355}" dt="2023-02-22T15:54:15.121" v="1274" actId="700"/>
          <ac:spMkLst>
            <pc:docMk/>
            <pc:sldMk cId="1253155529" sldId="672"/>
            <ac:spMk id="2" creationId="{9AB80E92-8802-C9FB-147E-D4213B4A7E50}"/>
          </ac:spMkLst>
        </pc:spChg>
        <pc:spChg chg="del">
          <ac:chgData name="Thomas Stensitzki" userId="75cafe6b-2f2a-469b-85c4-eec3b9c972ba" providerId="ADAL" clId="{ADB70B9A-E028-484E-93D9-2068C3FA1355}" dt="2023-02-22T15:54:15.121" v="1274" actId="700"/>
          <ac:spMkLst>
            <pc:docMk/>
            <pc:sldMk cId="1253155529" sldId="672"/>
            <ac:spMk id="3" creationId="{E60E4756-D26C-66C6-F7B5-E7D4C1089EE8}"/>
          </ac:spMkLst>
        </pc:spChg>
        <pc:spChg chg="add mod ord">
          <ac:chgData name="Thomas Stensitzki" userId="75cafe6b-2f2a-469b-85c4-eec3b9c972ba" providerId="ADAL" clId="{ADB70B9A-E028-484E-93D9-2068C3FA1355}" dt="2023-02-22T15:54:16.978" v="1275"/>
          <ac:spMkLst>
            <pc:docMk/>
            <pc:sldMk cId="1253155529" sldId="672"/>
            <ac:spMk id="4" creationId="{F0AD4EE5-F062-B400-5493-1BC30CBC4BF8}"/>
          </ac:spMkLst>
        </pc:spChg>
        <pc:picChg chg="add mod">
          <ac:chgData name="Thomas Stensitzki" userId="75cafe6b-2f2a-469b-85c4-eec3b9c972ba" providerId="ADAL" clId="{ADB70B9A-E028-484E-93D9-2068C3FA1355}" dt="2023-03-01T15:18:03.084" v="1498" actId="1440"/>
          <ac:picMkLst>
            <pc:docMk/>
            <pc:sldMk cId="1253155529" sldId="672"/>
            <ac:picMk id="10242" creationId="{A07EE45A-5230-1CDE-9844-5F531A7646B2}"/>
          </ac:picMkLst>
        </pc:picChg>
      </pc:sldChg>
      <pc:sldChg chg="addSp delSp modSp add mod ord modTransition">
        <pc:chgData name="Thomas Stensitzki" userId="75cafe6b-2f2a-469b-85c4-eec3b9c972ba" providerId="ADAL" clId="{ADB70B9A-E028-484E-93D9-2068C3FA1355}" dt="2023-03-01T15:15:23.115" v="1497"/>
        <pc:sldMkLst>
          <pc:docMk/>
          <pc:sldMk cId="3265622204" sldId="673"/>
        </pc:sldMkLst>
        <pc:spChg chg="mod">
          <ac:chgData name="Thomas Stensitzki" userId="75cafe6b-2f2a-469b-85c4-eec3b9c972ba" providerId="ADAL" clId="{ADB70B9A-E028-484E-93D9-2068C3FA1355}" dt="2023-03-01T13:40:00.969" v="1448" actId="14100"/>
          <ac:spMkLst>
            <pc:docMk/>
            <pc:sldMk cId="3265622204" sldId="673"/>
            <ac:spMk id="2" creationId="{909DC09D-B9A6-4493-9A72-1CA7ECB1F5CA}"/>
          </ac:spMkLst>
        </pc:spChg>
        <pc:spChg chg="mod">
          <ac:chgData name="Thomas Stensitzki" userId="75cafe6b-2f2a-469b-85c4-eec3b9c972ba" providerId="ADAL" clId="{ADB70B9A-E028-484E-93D9-2068C3FA1355}" dt="2023-03-01T13:37:28.147" v="1410"/>
          <ac:spMkLst>
            <pc:docMk/>
            <pc:sldMk cId="3265622204" sldId="673"/>
            <ac:spMk id="5" creationId="{C24DACB5-1BEC-4C86-9652-BAFD8DE56FEF}"/>
          </ac:spMkLst>
        </pc:spChg>
        <pc:picChg chg="add del">
          <ac:chgData name="Thomas Stensitzki" userId="75cafe6b-2f2a-469b-85c4-eec3b9c972ba" providerId="ADAL" clId="{ADB70B9A-E028-484E-93D9-2068C3FA1355}" dt="2023-03-01T13:33:25.253" v="1365"/>
          <ac:picMkLst>
            <pc:docMk/>
            <pc:sldMk cId="3265622204" sldId="673"/>
            <ac:picMk id="3" creationId="{73EDE04D-DA44-A185-5756-7D147E9C9E64}"/>
          </ac:picMkLst>
        </pc:picChg>
      </pc:sldChg>
      <pc:sldChg chg="addSp modSp new mod modTransition">
        <pc:chgData name="Thomas Stensitzki" userId="75cafe6b-2f2a-469b-85c4-eec3b9c972ba" providerId="ADAL" clId="{ADB70B9A-E028-484E-93D9-2068C3FA1355}" dt="2023-03-01T15:15:23.115" v="1497"/>
        <pc:sldMkLst>
          <pc:docMk/>
          <pc:sldMk cId="549057824" sldId="674"/>
        </pc:sldMkLst>
        <pc:spChg chg="mod">
          <ac:chgData name="Thomas Stensitzki" userId="75cafe6b-2f2a-469b-85c4-eec3b9c972ba" providerId="ADAL" clId="{ADB70B9A-E028-484E-93D9-2068C3FA1355}" dt="2023-03-01T13:29:51.033" v="1337"/>
          <ac:spMkLst>
            <pc:docMk/>
            <pc:sldMk cId="549057824" sldId="674"/>
            <ac:spMk id="2" creationId="{417DC092-79CB-6195-5EA9-9A7312D3615D}"/>
          </ac:spMkLst>
        </pc:spChg>
        <pc:picChg chg="add mod">
          <ac:chgData name="Thomas Stensitzki" userId="75cafe6b-2f2a-469b-85c4-eec3b9c972ba" providerId="ADAL" clId="{ADB70B9A-E028-484E-93D9-2068C3FA1355}" dt="2023-03-01T13:30:09.351" v="1341" actId="1440"/>
          <ac:picMkLst>
            <pc:docMk/>
            <pc:sldMk cId="549057824" sldId="674"/>
            <ac:picMk id="1026" creationId="{2F41541A-AE4F-2D3F-3145-37F53996FF7A}"/>
          </ac:picMkLst>
        </pc:picChg>
      </pc:sldChg>
      <pc:sldChg chg="addSp modSp new mod modTransition">
        <pc:chgData name="Thomas Stensitzki" userId="75cafe6b-2f2a-469b-85c4-eec3b9c972ba" providerId="ADAL" clId="{ADB70B9A-E028-484E-93D9-2068C3FA1355}" dt="2023-03-01T15:15:23.115" v="1497"/>
        <pc:sldMkLst>
          <pc:docMk/>
          <pc:sldMk cId="1757766559" sldId="675"/>
        </pc:sldMkLst>
        <pc:spChg chg="mod">
          <ac:chgData name="Thomas Stensitzki" userId="75cafe6b-2f2a-469b-85c4-eec3b9c972ba" providerId="ADAL" clId="{ADB70B9A-E028-484E-93D9-2068C3FA1355}" dt="2023-03-01T13:32:26.811" v="1358"/>
          <ac:spMkLst>
            <pc:docMk/>
            <pc:sldMk cId="1757766559" sldId="675"/>
            <ac:spMk id="2" creationId="{0249A3FB-B117-07F5-9A07-948D42D267D7}"/>
          </ac:spMkLst>
        </pc:spChg>
        <pc:picChg chg="add mod">
          <ac:chgData name="Thomas Stensitzki" userId="75cafe6b-2f2a-469b-85c4-eec3b9c972ba" providerId="ADAL" clId="{ADB70B9A-E028-484E-93D9-2068C3FA1355}" dt="2023-03-01T13:32:46.617" v="1363" actId="1440"/>
          <ac:picMkLst>
            <pc:docMk/>
            <pc:sldMk cId="1757766559" sldId="675"/>
            <ac:picMk id="2050" creationId="{7B51B339-7233-8BC8-DD6B-738B977FD69B}"/>
          </ac:picMkLst>
        </pc:picChg>
      </pc:sldChg>
      <pc:sldChg chg="addSp modSp new mod modTransition">
        <pc:chgData name="Thomas Stensitzki" userId="75cafe6b-2f2a-469b-85c4-eec3b9c972ba" providerId="ADAL" clId="{ADB70B9A-E028-484E-93D9-2068C3FA1355}" dt="2023-03-01T15:15:23.115" v="1497"/>
        <pc:sldMkLst>
          <pc:docMk/>
          <pc:sldMk cId="2309531245" sldId="676"/>
        </pc:sldMkLst>
        <pc:spChg chg="mod">
          <ac:chgData name="Thomas Stensitzki" userId="75cafe6b-2f2a-469b-85c4-eec3b9c972ba" providerId="ADAL" clId="{ADB70B9A-E028-484E-93D9-2068C3FA1355}" dt="2023-03-01T13:33:40.203" v="1368"/>
          <ac:spMkLst>
            <pc:docMk/>
            <pc:sldMk cId="2309531245" sldId="676"/>
            <ac:spMk id="2" creationId="{79E0106B-D3AC-A629-86D2-9A1CCE4463C6}"/>
          </ac:spMkLst>
        </pc:spChg>
        <pc:picChg chg="add mod">
          <ac:chgData name="Thomas Stensitzki" userId="75cafe6b-2f2a-469b-85c4-eec3b9c972ba" providerId="ADAL" clId="{ADB70B9A-E028-484E-93D9-2068C3FA1355}" dt="2023-03-01T13:35:02.719" v="1382" actId="1440"/>
          <ac:picMkLst>
            <pc:docMk/>
            <pc:sldMk cId="2309531245" sldId="676"/>
            <ac:picMk id="3074" creationId="{7D40F008-A039-F720-0911-C95ED2ADABDE}"/>
          </ac:picMkLst>
        </pc:picChg>
      </pc:sldChg>
      <pc:sldChg chg="addSp delSp modSp add mod modTransition">
        <pc:chgData name="Thomas Stensitzki" userId="75cafe6b-2f2a-469b-85c4-eec3b9c972ba" providerId="ADAL" clId="{ADB70B9A-E028-484E-93D9-2068C3FA1355}" dt="2023-03-01T15:15:23.115" v="1497"/>
        <pc:sldMkLst>
          <pc:docMk/>
          <pc:sldMk cId="857527238" sldId="677"/>
        </pc:sldMkLst>
        <pc:picChg chg="add mod">
          <ac:chgData name="Thomas Stensitzki" userId="75cafe6b-2f2a-469b-85c4-eec3b9c972ba" providerId="ADAL" clId="{ADB70B9A-E028-484E-93D9-2068C3FA1355}" dt="2023-03-01T13:34:57.809" v="1381" actId="1440"/>
          <ac:picMkLst>
            <pc:docMk/>
            <pc:sldMk cId="857527238" sldId="677"/>
            <ac:picMk id="3" creationId="{68337573-0EAA-125B-408C-5D4F0D0D3755}"/>
          </ac:picMkLst>
        </pc:picChg>
        <pc:picChg chg="del">
          <ac:chgData name="Thomas Stensitzki" userId="75cafe6b-2f2a-469b-85c4-eec3b9c972ba" providerId="ADAL" clId="{ADB70B9A-E028-484E-93D9-2068C3FA1355}" dt="2023-03-01T13:34:51.370" v="1379" actId="478"/>
          <ac:picMkLst>
            <pc:docMk/>
            <pc:sldMk cId="857527238" sldId="677"/>
            <ac:picMk id="3074" creationId="{7D40F008-A039-F720-0911-C95ED2ADABDE}"/>
          </ac:picMkLst>
        </pc:picChg>
      </pc:sldChg>
      <pc:sldChg chg="addSp modSp new mod modTransition">
        <pc:chgData name="Thomas Stensitzki" userId="75cafe6b-2f2a-469b-85c4-eec3b9c972ba" providerId="ADAL" clId="{ADB70B9A-E028-484E-93D9-2068C3FA1355}" dt="2023-03-01T15:15:23.115" v="1497"/>
        <pc:sldMkLst>
          <pc:docMk/>
          <pc:sldMk cId="2554844056" sldId="678"/>
        </pc:sldMkLst>
        <pc:spChg chg="mod">
          <ac:chgData name="Thomas Stensitzki" userId="75cafe6b-2f2a-469b-85c4-eec3b9c972ba" providerId="ADAL" clId="{ADB70B9A-E028-484E-93D9-2068C3FA1355}" dt="2023-03-01T13:37:36.403" v="1412"/>
          <ac:spMkLst>
            <pc:docMk/>
            <pc:sldMk cId="2554844056" sldId="678"/>
            <ac:spMk id="2" creationId="{8696C861-CD09-0657-C3EB-D83217AA2443}"/>
          </ac:spMkLst>
        </pc:spChg>
        <pc:picChg chg="add mod">
          <ac:chgData name="Thomas Stensitzki" userId="75cafe6b-2f2a-469b-85c4-eec3b9c972ba" providerId="ADAL" clId="{ADB70B9A-E028-484E-93D9-2068C3FA1355}" dt="2023-03-01T13:37:55.484" v="1416" actId="1440"/>
          <ac:picMkLst>
            <pc:docMk/>
            <pc:sldMk cId="2554844056" sldId="678"/>
            <ac:picMk id="3" creationId="{CA7483D0-B402-CD47-7443-8B64DA58EE09}"/>
          </ac:picMkLst>
        </pc:picChg>
      </pc:sldChg>
      <pc:sldChg chg="modSp add mod ord modTransition">
        <pc:chgData name="Thomas Stensitzki" userId="75cafe6b-2f2a-469b-85c4-eec3b9c972ba" providerId="ADAL" clId="{ADB70B9A-E028-484E-93D9-2068C3FA1355}" dt="2023-03-01T15:15:23.115" v="1497"/>
        <pc:sldMkLst>
          <pc:docMk/>
          <pc:sldMk cId="3925627864" sldId="679"/>
        </pc:sldMkLst>
        <pc:spChg chg="mod">
          <ac:chgData name="Thomas Stensitzki" userId="75cafe6b-2f2a-469b-85c4-eec3b9c972ba" providerId="ADAL" clId="{ADB70B9A-E028-484E-93D9-2068C3FA1355}" dt="2023-03-01T13:38:39.988" v="1428" actId="14100"/>
          <ac:spMkLst>
            <pc:docMk/>
            <pc:sldMk cId="3925627864" sldId="679"/>
            <ac:spMk id="2" creationId="{909DC09D-B9A6-4493-9A72-1CA7ECB1F5CA}"/>
          </ac:spMkLst>
        </pc:spChg>
      </pc:sldChg>
      <pc:sldChg chg="modSp add mod ord modTransition">
        <pc:chgData name="Thomas Stensitzki" userId="75cafe6b-2f2a-469b-85c4-eec3b9c972ba" providerId="ADAL" clId="{ADB70B9A-E028-484E-93D9-2068C3FA1355}" dt="2023-03-01T15:15:23.115" v="1497"/>
        <pc:sldMkLst>
          <pc:docMk/>
          <pc:sldMk cId="3798798789" sldId="680"/>
        </pc:sldMkLst>
        <pc:spChg chg="mod">
          <ac:chgData name="Thomas Stensitzki" userId="75cafe6b-2f2a-469b-85c4-eec3b9c972ba" providerId="ADAL" clId="{ADB70B9A-E028-484E-93D9-2068C3FA1355}" dt="2023-03-01T13:39:08.644" v="1433" actId="14100"/>
          <ac:spMkLst>
            <pc:docMk/>
            <pc:sldMk cId="3798798789" sldId="680"/>
            <ac:spMk id="2" creationId="{909DC09D-B9A6-4493-9A72-1CA7ECB1F5CA}"/>
          </ac:spMkLst>
        </pc:spChg>
      </pc:sldChg>
      <pc:sldChg chg="modSp add mod modTransition">
        <pc:chgData name="Thomas Stensitzki" userId="75cafe6b-2f2a-469b-85c4-eec3b9c972ba" providerId="ADAL" clId="{ADB70B9A-E028-484E-93D9-2068C3FA1355}" dt="2023-03-01T15:15:23.115" v="1497"/>
        <pc:sldMkLst>
          <pc:docMk/>
          <pc:sldMk cId="3850999508" sldId="681"/>
        </pc:sldMkLst>
        <pc:spChg chg="mod">
          <ac:chgData name="Thomas Stensitzki" userId="75cafe6b-2f2a-469b-85c4-eec3b9c972ba" providerId="ADAL" clId="{ADB70B9A-E028-484E-93D9-2068C3FA1355}" dt="2023-03-01T13:39:20.931" v="1436" actId="14100"/>
          <ac:spMkLst>
            <pc:docMk/>
            <pc:sldMk cId="3850999508" sldId="681"/>
            <ac:spMk id="2" creationId="{909DC09D-B9A6-4493-9A72-1CA7ECB1F5CA}"/>
          </ac:spMkLst>
        </pc:spChg>
      </pc:sldChg>
      <pc:sldChg chg="modSp add mod modTransition">
        <pc:chgData name="Thomas Stensitzki" userId="75cafe6b-2f2a-469b-85c4-eec3b9c972ba" providerId="ADAL" clId="{ADB70B9A-E028-484E-93D9-2068C3FA1355}" dt="2023-03-01T15:15:23.115" v="1497"/>
        <pc:sldMkLst>
          <pc:docMk/>
          <pc:sldMk cId="2152297632" sldId="682"/>
        </pc:sldMkLst>
        <pc:spChg chg="mod">
          <ac:chgData name="Thomas Stensitzki" userId="75cafe6b-2f2a-469b-85c4-eec3b9c972ba" providerId="ADAL" clId="{ADB70B9A-E028-484E-93D9-2068C3FA1355}" dt="2023-03-01T13:39:32.026" v="1444" actId="14100"/>
          <ac:spMkLst>
            <pc:docMk/>
            <pc:sldMk cId="2152297632" sldId="682"/>
            <ac:spMk id="2" creationId="{909DC09D-B9A6-4493-9A72-1CA7ECB1F5CA}"/>
          </ac:spMkLst>
        </pc:spChg>
      </pc:sldChg>
      <pc:sldChg chg="modSp add mod modTransition">
        <pc:chgData name="Thomas Stensitzki" userId="75cafe6b-2f2a-469b-85c4-eec3b9c972ba" providerId="ADAL" clId="{ADB70B9A-E028-484E-93D9-2068C3FA1355}" dt="2023-03-01T15:15:23.115" v="1497"/>
        <pc:sldMkLst>
          <pc:docMk/>
          <pc:sldMk cId="476894528" sldId="683"/>
        </pc:sldMkLst>
        <pc:spChg chg="mod">
          <ac:chgData name="Thomas Stensitzki" userId="75cafe6b-2f2a-469b-85c4-eec3b9c972ba" providerId="ADAL" clId="{ADB70B9A-E028-484E-93D9-2068C3FA1355}" dt="2023-03-01T13:39:46.585" v="1447" actId="14100"/>
          <ac:spMkLst>
            <pc:docMk/>
            <pc:sldMk cId="476894528" sldId="683"/>
            <ac:spMk id="2" creationId="{909DC09D-B9A6-4493-9A72-1CA7ECB1F5CA}"/>
          </ac:spMkLst>
        </pc:spChg>
      </pc:sldChg>
      <pc:sldChg chg="modSp add mod ord modTransition">
        <pc:chgData name="Thomas Stensitzki" userId="75cafe6b-2f2a-469b-85c4-eec3b9c972ba" providerId="ADAL" clId="{ADB70B9A-E028-484E-93D9-2068C3FA1355}" dt="2023-03-01T15:15:23.115" v="1497"/>
        <pc:sldMkLst>
          <pc:docMk/>
          <pc:sldMk cId="2385236446" sldId="684"/>
        </pc:sldMkLst>
        <pc:spChg chg="mod">
          <ac:chgData name="Thomas Stensitzki" userId="75cafe6b-2f2a-469b-85c4-eec3b9c972ba" providerId="ADAL" clId="{ADB70B9A-E028-484E-93D9-2068C3FA1355}" dt="2023-03-01T13:40:11.854" v="1452" actId="1076"/>
          <ac:spMkLst>
            <pc:docMk/>
            <pc:sldMk cId="2385236446" sldId="684"/>
            <ac:spMk id="2" creationId="{909DC09D-B9A6-4493-9A72-1CA7ECB1F5CA}"/>
          </ac:spMkLst>
        </pc:spChg>
      </pc:sldChg>
      <pc:sldChg chg="modSp add mod modTransition">
        <pc:chgData name="Thomas Stensitzki" userId="75cafe6b-2f2a-469b-85c4-eec3b9c972ba" providerId="ADAL" clId="{ADB70B9A-E028-484E-93D9-2068C3FA1355}" dt="2023-03-01T15:15:23.115" v="1497"/>
        <pc:sldMkLst>
          <pc:docMk/>
          <pc:sldMk cId="380254688" sldId="685"/>
        </pc:sldMkLst>
        <pc:spChg chg="mod">
          <ac:chgData name="Thomas Stensitzki" userId="75cafe6b-2f2a-469b-85c4-eec3b9c972ba" providerId="ADAL" clId="{ADB70B9A-E028-484E-93D9-2068C3FA1355}" dt="2023-03-01T13:40:21.337" v="1455" actId="14100"/>
          <ac:spMkLst>
            <pc:docMk/>
            <pc:sldMk cId="380254688" sldId="685"/>
            <ac:spMk id="2" creationId="{909DC09D-B9A6-4493-9A72-1CA7ECB1F5CA}"/>
          </ac:spMkLst>
        </pc:spChg>
      </pc:sldChg>
      <pc:sldChg chg="modSp add mod ord modTransition">
        <pc:chgData name="Thomas Stensitzki" userId="75cafe6b-2f2a-469b-85c4-eec3b9c972ba" providerId="ADAL" clId="{ADB70B9A-E028-484E-93D9-2068C3FA1355}" dt="2023-03-01T15:15:23.115" v="1497"/>
        <pc:sldMkLst>
          <pc:docMk/>
          <pc:sldMk cId="1151479395" sldId="686"/>
        </pc:sldMkLst>
        <pc:spChg chg="mod">
          <ac:chgData name="Thomas Stensitzki" userId="75cafe6b-2f2a-469b-85c4-eec3b9c972ba" providerId="ADAL" clId="{ADB70B9A-E028-484E-93D9-2068C3FA1355}" dt="2023-03-01T13:40:58.370" v="1460" actId="14100"/>
          <ac:spMkLst>
            <pc:docMk/>
            <pc:sldMk cId="1151479395" sldId="686"/>
            <ac:spMk id="2" creationId="{909DC09D-B9A6-4493-9A72-1CA7ECB1F5CA}"/>
          </ac:spMkLst>
        </pc:spChg>
      </pc:sldChg>
      <pc:sldChg chg="modSp add mod ord modTransition">
        <pc:chgData name="Thomas Stensitzki" userId="75cafe6b-2f2a-469b-85c4-eec3b9c972ba" providerId="ADAL" clId="{ADB70B9A-E028-484E-93D9-2068C3FA1355}" dt="2023-03-01T15:15:23.115" v="1497"/>
        <pc:sldMkLst>
          <pc:docMk/>
          <pc:sldMk cId="3396655959" sldId="687"/>
        </pc:sldMkLst>
        <pc:spChg chg="mod">
          <ac:chgData name="Thomas Stensitzki" userId="75cafe6b-2f2a-469b-85c4-eec3b9c972ba" providerId="ADAL" clId="{ADB70B9A-E028-484E-93D9-2068C3FA1355}" dt="2023-03-01T13:41:16.160" v="1468" actId="14100"/>
          <ac:spMkLst>
            <pc:docMk/>
            <pc:sldMk cId="3396655959" sldId="687"/>
            <ac:spMk id="2" creationId="{909DC09D-B9A6-4493-9A72-1CA7ECB1F5CA}"/>
          </ac:spMkLst>
        </pc:spChg>
      </pc:sldChg>
      <pc:sldChg chg="modSp add mod modTransition">
        <pc:chgData name="Thomas Stensitzki" userId="75cafe6b-2f2a-469b-85c4-eec3b9c972ba" providerId="ADAL" clId="{ADB70B9A-E028-484E-93D9-2068C3FA1355}" dt="2023-03-01T15:15:23.115" v="1497"/>
        <pc:sldMkLst>
          <pc:docMk/>
          <pc:sldMk cId="3879280141" sldId="688"/>
        </pc:sldMkLst>
        <pc:spChg chg="mod">
          <ac:chgData name="Thomas Stensitzki" userId="75cafe6b-2f2a-469b-85c4-eec3b9c972ba" providerId="ADAL" clId="{ADB70B9A-E028-484E-93D9-2068C3FA1355}" dt="2023-03-01T13:41:25.703" v="1471" actId="14100"/>
          <ac:spMkLst>
            <pc:docMk/>
            <pc:sldMk cId="3879280141" sldId="688"/>
            <ac:spMk id="2" creationId="{909DC09D-B9A6-4493-9A72-1CA7ECB1F5CA}"/>
          </ac:spMkLst>
        </pc:spChg>
      </pc:sldChg>
      <pc:sldChg chg="modSp add mod ord modTransition">
        <pc:chgData name="Thomas Stensitzki" userId="75cafe6b-2f2a-469b-85c4-eec3b9c972ba" providerId="ADAL" clId="{ADB70B9A-E028-484E-93D9-2068C3FA1355}" dt="2023-03-01T15:15:23.115" v="1497"/>
        <pc:sldMkLst>
          <pc:docMk/>
          <pc:sldMk cId="882736164" sldId="689"/>
        </pc:sldMkLst>
        <pc:spChg chg="mod">
          <ac:chgData name="Thomas Stensitzki" userId="75cafe6b-2f2a-469b-85c4-eec3b9c972ba" providerId="ADAL" clId="{ADB70B9A-E028-484E-93D9-2068C3FA1355}" dt="2023-03-01T13:41:41.011" v="1475" actId="1076"/>
          <ac:spMkLst>
            <pc:docMk/>
            <pc:sldMk cId="882736164" sldId="689"/>
            <ac:spMk id="2" creationId="{909DC09D-B9A6-4493-9A72-1CA7ECB1F5CA}"/>
          </ac:spMkLst>
        </pc:spChg>
        <pc:spChg chg="mod">
          <ac:chgData name="Thomas Stensitzki" userId="75cafe6b-2f2a-469b-85c4-eec3b9c972ba" providerId="ADAL" clId="{ADB70B9A-E028-484E-93D9-2068C3FA1355}" dt="2023-03-01T13:41:43.529" v="1476" actId="20577"/>
          <ac:spMkLst>
            <pc:docMk/>
            <pc:sldMk cId="882736164" sldId="689"/>
            <ac:spMk id="5" creationId="{C24DACB5-1BEC-4C86-9652-BAFD8DE56FEF}"/>
          </ac:spMkLst>
        </pc:spChg>
      </pc:sldChg>
      <pc:sldChg chg="modSp add mod ord modTransition">
        <pc:chgData name="Thomas Stensitzki" userId="75cafe6b-2f2a-469b-85c4-eec3b9c972ba" providerId="ADAL" clId="{ADB70B9A-E028-484E-93D9-2068C3FA1355}" dt="2023-03-01T15:15:23.115" v="1497"/>
        <pc:sldMkLst>
          <pc:docMk/>
          <pc:sldMk cId="2999548056" sldId="690"/>
        </pc:sldMkLst>
        <pc:spChg chg="mod">
          <ac:chgData name="Thomas Stensitzki" userId="75cafe6b-2f2a-469b-85c4-eec3b9c972ba" providerId="ADAL" clId="{ADB70B9A-E028-484E-93D9-2068C3FA1355}" dt="2023-03-01T13:41:57.828" v="1481" actId="14100"/>
          <ac:spMkLst>
            <pc:docMk/>
            <pc:sldMk cId="2999548056" sldId="690"/>
            <ac:spMk id="2" creationId="{909DC09D-B9A6-4493-9A72-1CA7ECB1F5CA}"/>
          </ac:spMkLst>
        </pc:spChg>
      </pc:sldChg>
      <pc:sldChg chg="modSp add mod ord modTransition">
        <pc:chgData name="Thomas Stensitzki" userId="75cafe6b-2f2a-469b-85c4-eec3b9c972ba" providerId="ADAL" clId="{ADB70B9A-E028-484E-93D9-2068C3FA1355}" dt="2023-03-01T15:15:23.115" v="1497"/>
        <pc:sldMkLst>
          <pc:docMk/>
          <pc:sldMk cId="3382179983" sldId="691"/>
        </pc:sldMkLst>
        <pc:spChg chg="mod">
          <ac:chgData name="Thomas Stensitzki" userId="75cafe6b-2f2a-469b-85c4-eec3b9c972ba" providerId="ADAL" clId="{ADB70B9A-E028-484E-93D9-2068C3FA1355}" dt="2023-03-01T13:42:04.432" v="1485" actId="1076"/>
          <ac:spMkLst>
            <pc:docMk/>
            <pc:sldMk cId="3382179983" sldId="691"/>
            <ac:spMk id="2" creationId="{909DC09D-B9A6-4493-9A72-1CA7ECB1F5CA}"/>
          </ac:spMkLst>
        </pc:spChg>
      </pc:sldChg>
      <pc:sldChg chg="modSp add mod modTransition">
        <pc:chgData name="Thomas Stensitzki" userId="75cafe6b-2f2a-469b-85c4-eec3b9c972ba" providerId="ADAL" clId="{ADB70B9A-E028-484E-93D9-2068C3FA1355}" dt="2023-03-01T15:15:23.115" v="1497"/>
        <pc:sldMkLst>
          <pc:docMk/>
          <pc:sldMk cId="2967036620" sldId="692"/>
        </pc:sldMkLst>
        <pc:spChg chg="mod">
          <ac:chgData name="Thomas Stensitzki" userId="75cafe6b-2f2a-469b-85c4-eec3b9c972ba" providerId="ADAL" clId="{ADB70B9A-E028-484E-93D9-2068C3FA1355}" dt="2023-03-01T13:42:13.454" v="1487" actId="1076"/>
          <ac:spMkLst>
            <pc:docMk/>
            <pc:sldMk cId="2967036620" sldId="692"/>
            <ac:spMk id="2" creationId="{909DC09D-B9A6-4493-9A72-1CA7ECB1F5CA}"/>
          </ac:spMkLst>
        </pc:spChg>
      </pc:sldChg>
      <pc:sldChg chg="modSp add mod ord modTransition">
        <pc:chgData name="Thomas Stensitzki" userId="75cafe6b-2f2a-469b-85c4-eec3b9c972ba" providerId="ADAL" clId="{ADB70B9A-E028-484E-93D9-2068C3FA1355}" dt="2023-03-01T15:15:23.115" v="1497"/>
        <pc:sldMkLst>
          <pc:docMk/>
          <pc:sldMk cId="48805967" sldId="693"/>
        </pc:sldMkLst>
        <pc:spChg chg="mod">
          <ac:chgData name="Thomas Stensitzki" userId="75cafe6b-2f2a-469b-85c4-eec3b9c972ba" providerId="ADAL" clId="{ADB70B9A-E028-484E-93D9-2068C3FA1355}" dt="2023-03-01T13:42:24.955" v="1491" actId="1076"/>
          <ac:spMkLst>
            <pc:docMk/>
            <pc:sldMk cId="48805967" sldId="693"/>
            <ac:spMk id="2" creationId="{909DC09D-B9A6-4493-9A72-1CA7ECB1F5CA}"/>
          </ac:spMkLst>
        </pc:spChg>
      </pc:sldChg>
      <pc:sldChg chg="modSp add mod ord modTransition">
        <pc:chgData name="Thomas Stensitzki" userId="75cafe6b-2f2a-469b-85c4-eec3b9c972ba" providerId="ADAL" clId="{ADB70B9A-E028-484E-93D9-2068C3FA1355}" dt="2023-03-01T15:15:23.115" v="1497"/>
        <pc:sldMkLst>
          <pc:docMk/>
          <pc:sldMk cId="1294646207" sldId="694"/>
        </pc:sldMkLst>
        <pc:spChg chg="mod">
          <ac:chgData name="Thomas Stensitzki" userId="75cafe6b-2f2a-469b-85c4-eec3b9c972ba" providerId="ADAL" clId="{ADB70B9A-E028-484E-93D9-2068C3FA1355}" dt="2023-03-01T13:42:36.018" v="1496" actId="14100"/>
          <ac:spMkLst>
            <pc:docMk/>
            <pc:sldMk cId="1294646207" sldId="694"/>
            <ac:spMk id="2" creationId="{909DC09D-B9A6-4493-9A72-1CA7ECB1F5CA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ptos" panose="020B00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ptos" panose="020B0004020202020204" pitchFamily="34" charset="0"/>
              </a:defRPr>
            </a:lvl1pPr>
          </a:lstStyle>
          <a:p>
            <a:fld id="{1A951A38-604E-46AF-B68B-4691B9CFFAF5}" type="datetimeFigureOut">
              <a:rPr lang="de-DE" smtClean="0"/>
              <a:pPr/>
              <a:t>10.12.2023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ptos" panose="020B00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ptos" panose="020B0004020202020204" pitchFamily="34" charset="0"/>
              </a:defRPr>
            </a:lvl1pPr>
          </a:lstStyle>
          <a:p>
            <a:fld id="{3493B9C7-8C41-44EF-A755-70B1D5727268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45769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ptos" panose="020B00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ptos" panose="020B00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ptos" panose="020B00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ptos" panose="020B00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ptos" panose="020B00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93B9C7-8C41-44EF-A755-70B1D5727268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597722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93B9C7-8C41-44EF-A755-70B1D5727268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2084815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93B9C7-8C41-44EF-A755-70B1D5727268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2508108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93B9C7-8C41-44EF-A755-70B1D5727268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3263295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93B9C7-8C41-44EF-A755-70B1D5727268}" type="slidenum">
              <a:rPr lang="de-DE" smtClean="0"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7139183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93B9C7-8C41-44EF-A755-70B1D5727268}" type="slidenum">
              <a:rPr lang="de-DE" smtClean="0"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1601048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93B9C7-8C41-44EF-A755-70B1D5727268}" type="slidenum">
              <a:rPr lang="de-DE" smtClean="0"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380694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93B9C7-8C41-44EF-A755-70B1D5727268}" type="slidenum">
              <a:rPr lang="de-DE" smtClean="0"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616361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93B9C7-8C41-44EF-A755-70B1D5727268}" type="slidenum">
              <a:rPr lang="de-DE" smtClean="0"/>
              <a:t>3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784182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93B9C7-8C41-44EF-A755-70B1D5727268}" type="slidenum">
              <a:rPr lang="de-DE" smtClean="0"/>
              <a:t>3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1297744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93B9C7-8C41-44EF-A755-70B1D5727268}" type="slidenum">
              <a:rPr lang="de-DE" smtClean="0"/>
              <a:t>3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064474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93B9C7-8C41-44EF-A755-70B1D5727268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1884413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93B9C7-8C41-44EF-A755-70B1D5727268}" type="slidenum">
              <a:rPr lang="de-DE" smtClean="0"/>
              <a:t>3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750951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93B9C7-8C41-44EF-A755-70B1D5727268}" type="slidenum">
              <a:rPr lang="de-DE" smtClean="0"/>
              <a:t>3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445466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93B9C7-8C41-44EF-A755-70B1D5727268}" type="slidenum">
              <a:rPr lang="de-DE" smtClean="0"/>
              <a:t>4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614349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93B9C7-8C41-44EF-A755-70B1D5727268}" type="slidenum">
              <a:rPr lang="de-DE" smtClean="0"/>
              <a:t>4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846669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93B9C7-8C41-44EF-A755-70B1D5727268}" type="slidenum">
              <a:rPr lang="de-DE" smtClean="0"/>
              <a:t>4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930297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93B9C7-8C41-44EF-A755-70B1D5727268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063339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93B9C7-8C41-44EF-A755-70B1D5727268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930297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93B9C7-8C41-44EF-A755-70B1D5727268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27575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93B9C7-8C41-44EF-A755-70B1D5727268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44546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93B9C7-8C41-44EF-A755-70B1D5727268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077392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93B9C7-8C41-44EF-A755-70B1D5727268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820006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93B9C7-8C41-44EF-A755-70B1D5727268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711380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7B18089-C25B-431F-A9A1-5E1264C83FC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80D1149-82DA-4401-B6A3-EB9521C7D70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D540479-1C51-46F3-86B7-3832D2A57F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736" y="1782696"/>
            <a:ext cx="12277804" cy="6138902"/>
          </a:xfrm>
          <a:prstGeom prst="rect">
            <a:avLst/>
          </a:prstGeom>
        </p:spPr>
      </p:pic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DC492C04-9595-4D88-A6FA-ABEAC2147667}"/>
              </a:ext>
            </a:extLst>
          </p:cNvPr>
          <p:cNvSpPr txBox="1">
            <a:spLocks/>
          </p:cNvSpPr>
          <p:nvPr userDrawn="1"/>
        </p:nvSpPr>
        <p:spPr>
          <a:xfrm>
            <a:off x="838199" y="6492875"/>
            <a:ext cx="54403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dirty="0">
                <a:solidFill>
                  <a:schemeClr val="bg1"/>
                </a:solidFill>
                <a:latin typeface="Aptos" panose="020B0004020202020204" pitchFamily="34" charset="0"/>
              </a:rPr>
              <a:t>@teamsugberlin.bsky.social #MicrosoftTeams #TeamsUGBerlin</a:t>
            </a:r>
          </a:p>
        </p:txBody>
      </p:sp>
    </p:spTree>
    <p:extLst>
      <p:ext uri="{BB962C8B-B14F-4D97-AF65-F5344CB8AC3E}">
        <p14:creationId xmlns:p14="http://schemas.microsoft.com/office/powerpoint/2010/main" val="33649059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EFC2810-4A92-47BB-AE91-E37649FE04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6669CE4-8003-4D90-9941-7C4E515652B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732824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95EA668-729F-4A91-9A40-DC117350EF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14ED502-77BB-4B3D-ACCE-8C1D48B76B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3691661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56E33DA-856B-48F9-AB8D-77FA8F2F1C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836A7A7-A1EA-4336-A778-67D515CDDB9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ECF341B-D75D-4CD2-94D7-36003A4DC30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0455743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740EE4C-BF58-4CBC-BB45-2578DAE7AD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27C1BA-6849-4489-BDB5-DBFCEA0DF5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AC864D3-14A4-4957-8AB3-52BB33FE2CE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9AB4D8F-8143-4B20-B53C-4F9A91A3562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9EA8F5A9-B426-4832-8F2B-505EBB6C806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0034180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1E6CB6-23AB-4B4B-B06E-D9C442F025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3952959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398366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717003C-B53F-47AE-B026-2F6974852C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B749CC0-CA66-4536-B60E-8E397EF41F2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0726139A-52EE-490A-831F-ABBD06DC71B9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8194" y="5572898"/>
            <a:ext cx="3133806" cy="1566903"/>
          </a:xfrm>
          <a:prstGeom prst="rect">
            <a:avLst/>
          </a:prstGeom>
        </p:spPr>
      </p:pic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2406A12C-E783-4BE5-BEFC-AA493EA54917}"/>
              </a:ext>
            </a:extLst>
          </p:cNvPr>
          <p:cNvSpPr txBox="1">
            <a:spLocks/>
          </p:cNvSpPr>
          <p:nvPr userDrawn="1"/>
        </p:nvSpPr>
        <p:spPr>
          <a:xfrm>
            <a:off x="838199" y="6492875"/>
            <a:ext cx="53856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dirty="0">
                <a:latin typeface="Aptos" panose="020B0004020202020204" pitchFamily="34" charset="0"/>
              </a:rPr>
              <a:t>@teamsugberlin.bsky.social #MicrosoftTeams #TeamsUGBerlin</a:t>
            </a:r>
          </a:p>
        </p:txBody>
      </p:sp>
    </p:spTree>
    <p:extLst>
      <p:ext uri="{BB962C8B-B14F-4D97-AF65-F5344CB8AC3E}">
        <p14:creationId xmlns:p14="http://schemas.microsoft.com/office/powerpoint/2010/main" val="2779112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ptos Light" panose="020F050202020403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>
            <a:lumMod val="75000"/>
          </a:schemeClr>
        </a:buClr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Aptos" panose="020B0004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>
            <a:lumMod val="75000"/>
          </a:schemeClr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Aptos" panose="020B0004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>
            <a:lumMod val="75000"/>
          </a:schemeClr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Aptos" panose="020B0004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>
            <a:lumMod val="75000"/>
          </a:schemeClr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Aptos" panose="020B0004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>
            <a:lumMod val="75000"/>
          </a:schemeClr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Aptos" panose="020B00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https://learn.microsoft.com/microsoftteams/walkie-talkie?WT.mc_id=TM-MVP-5003086" TargetMode="Externa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spirit21.com/" TargetMode="Externa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hyperlink" Target="https://learn.microsoft.com/microsoftteams/manage-tags?WT.mc_id=TM-MVP-5003086" TargetMode="Externa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hyperlink" Target="https://learn.microsoft.com/microsoft-365/loop/loop-workspaces-configuration?view=o365-worldwide&amp;WT.mc_id=TM-MVP-5003086" TargetMode="Externa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gif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link.heropost.io/ENowCQD" TargetMode="Externa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enowsoftware.com/" TargetMode="Externa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hyperlink" Target="https://techcommunity.microsoft.com/t5/microsoft-teams-blog/what-s-new-in-microsoft-teams-microsoft-ignite-2023/ba-p/3976670?WT.mc_id=TM-MVP-5003086" TargetMode="External"/><Relationship Id="rId7" Type="http://schemas.openxmlformats.org/officeDocument/2006/relationships/hyperlink" Target="https://feedbackportal.microsoft.com/feedback/forum/ad198462-1c1c-ec11-b6e7-0022481f8472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techcommunity.microsoft.com/t5/microsoft-teams-community-blog/bg-p/MicrosoftTeamsCommunityBlog?WT.mc_id=TM-MVP-5003086" TargetMode="External"/><Relationship Id="rId5" Type="http://schemas.openxmlformats.org/officeDocument/2006/relationships/hyperlink" Target="https://techcommunity.microsoft.com/t5/microsoft-teams-blog/bg-p/MicrosoftTeamsBlog?WT.mc_id=TM-MVP-5003086" TargetMode="External"/><Relationship Id="rId4" Type="http://schemas.openxmlformats.org/officeDocument/2006/relationships/hyperlink" Target="https://techcommunity.microsoft.com/t5/education-blog/what-s-new-in-microsoft-teams-for-education-november-2023/ba-p/3974211?WT.mc_id=TM-MVP-5003086" TargetMode="Externa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hyperlink" Target="https://admin.microsoft.com/#/MessageCenter" TargetMode="External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hyperlink" Target="https://teamsusergroup.berlin/meetup" TargetMode="External"/><Relationship Id="rId2" Type="http://schemas.openxmlformats.org/officeDocument/2006/relationships/hyperlink" Target="https://go.granikos.eu/TeamsUGForm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.png"/><Relationship Id="rId5" Type="http://schemas.openxmlformats.org/officeDocument/2006/relationships/image" Target="../media/image16.png"/><Relationship Id="rId4" Type="http://schemas.openxmlformats.org/officeDocument/2006/relationships/hyperlink" Target="https://teamsusergroup.berlin/video" TargetMode="Externa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hyperlink" Target="https://go.granikos.eu/TeamsMeetupBerlin" TargetMode="Externa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png"/><Relationship Id="rId4" Type="http://schemas.openxmlformats.org/officeDocument/2006/relationships/hyperlink" Target="https://teamsusergroup.berlin/register" TargetMode="Externa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hyperlink" Target="https://events.teams.microsoft.com/event/c9997b77-ab31-479d-aab8-f90e43ac89b7@d320e379-89d3-4566-b834-6ca78a2f6399" TargetMode="Externa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6A4A9C3-88F1-47B1-832C-DF14CF7A00C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b="1" dirty="0"/>
              <a:t>Microsoft Teams</a:t>
            </a:r>
            <a:br>
              <a:rPr lang="de-DE" b="1" dirty="0"/>
            </a:br>
            <a:r>
              <a:rPr lang="de-DE" b="1" dirty="0"/>
              <a:t>User Group Berli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BA95633-B02D-4A15-A8B1-A38E0A70FD2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b="1" dirty="0"/>
              <a:t>7. Dezember 2023</a:t>
            </a:r>
          </a:p>
          <a:p>
            <a:endParaRPr lang="de-DE" b="1" dirty="0"/>
          </a:p>
          <a:p>
            <a:endParaRPr lang="de-DE" b="1" dirty="0"/>
          </a:p>
          <a:p>
            <a:r>
              <a:rPr lang="de-DE" b="1" dirty="0"/>
              <a:t>Meetup #28</a:t>
            </a:r>
          </a:p>
        </p:txBody>
      </p:sp>
      <p:pic>
        <p:nvPicPr>
          <p:cNvPr id="5" name="Grafik 4" descr="Ein Bild, das Symbol, Logo, Grafiken, Screenshot enthält.&#10;&#10;Automatisch generierte Beschreibung">
            <a:extLst>
              <a:ext uri="{FF2B5EF4-FFF2-40B4-BE49-F238E27FC236}">
                <a16:creationId xmlns:a16="http://schemas.microsoft.com/office/drawing/2014/main" id="{C13428CA-74A7-C843-3D12-E6FB7CD644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800" y="-126999"/>
            <a:ext cx="2438400" cy="243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1489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34B45F-7D28-4067-7CF8-2F8FE33BF4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ivate Li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8D275FC-9916-49D6-AE56-0FAC00EAEA2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Zusätzliche zweite (private) Rufnummer</a:t>
            </a:r>
          </a:p>
          <a:p>
            <a:r>
              <a:rPr lang="de-DE" dirty="0"/>
              <a:t>Direkte Anrufmöglichkeit, vorbei an Stellvertretern, Administratoren oder Assistenten</a:t>
            </a:r>
          </a:p>
          <a:p>
            <a:r>
              <a:rPr lang="de-DE" dirty="0"/>
              <a:t>Nur für eingehende Anrufe</a:t>
            </a:r>
          </a:p>
          <a:p>
            <a:r>
              <a:rPr lang="de-DE" dirty="0"/>
              <a:t>Keine weiteren Einstellungen erforderlich, die Funktion ist nutzbar, sobald ausgerollt</a:t>
            </a:r>
          </a:p>
          <a:p>
            <a:r>
              <a:rPr lang="de-DE" dirty="0"/>
              <a:t>Rollout ab Februar 2024</a:t>
            </a:r>
          </a:p>
        </p:txBody>
      </p:sp>
    </p:spTree>
    <p:extLst>
      <p:ext uri="{BB962C8B-B14F-4D97-AF65-F5344CB8AC3E}">
        <p14:creationId xmlns:p14="http://schemas.microsoft.com/office/powerpoint/2010/main" val="32040836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34B45F-7D28-4067-7CF8-2F8FE33BF4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ivate Line</a:t>
            </a:r>
          </a:p>
        </p:txBody>
      </p:sp>
      <p:pic>
        <p:nvPicPr>
          <p:cNvPr id="1026" name="Picture 2" descr="designate phone number">
            <a:extLst>
              <a:ext uri="{FF2B5EF4-FFF2-40B4-BE49-F238E27FC236}">
                <a16:creationId xmlns:a16="http://schemas.microsoft.com/office/drawing/2014/main" id="{FE10055E-8E7E-D656-1F0F-76803EBFA0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1892" y="1487575"/>
            <a:ext cx="9348216" cy="484451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789051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34B45F-7D28-4067-7CF8-2F8FE33BF4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ivate Line</a:t>
            </a:r>
          </a:p>
        </p:txBody>
      </p:sp>
      <p:pic>
        <p:nvPicPr>
          <p:cNvPr id="2050" name="Picture 2" descr="private line">
            <a:extLst>
              <a:ext uri="{FF2B5EF4-FFF2-40B4-BE49-F238E27FC236}">
                <a16:creationId xmlns:a16="http://schemas.microsoft.com/office/drawing/2014/main" id="{53546701-04DA-BB3D-E071-CCDCA6BD31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1875" y="1676400"/>
            <a:ext cx="5048250" cy="35052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4096840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D12969B4-351A-4517-A5B8-3E6AD9CDB2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Neuigkeiten in Microsoft Teams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24DACB5-1BEC-4C86-9652-BAFD8DE56F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683240" cy="5032375"/>
          </a:xfrm>
        </p:spPr>
        <p:txBody>
          <a:bodyPr>
            <a:normAutofit/>
          </a:bodyPr>
          <a:lstStyle/>
          <a:p>
            <a:r>
              <a:rPr lang="en-US" dirty="0"/>
              <a:t>Private Line</a:t>
            </a:r>
          </a:p>
          <a:p>
            <a:r>
              <a:rPr lang="en-US" dirty="0"/>
              <a:t>Microsoft Teams Voice isolation</a:t>
            </a:r>
          </a:p>
          <a:p>
            <a:r>
              <a:rPr lang="en-US" dirty="0"/>
              <a:t>Listen to Multiple Channels on Teams Walkie Talkie</a:t>
            </a:r>
          </a:p>
          <a:p>
            <a:r>
              <a:rPr lang="en-US" dirty="0"/>
              <a:t>Quick Conflict Peek when you RSVP on Calendar Event Detail page</a:t>
            </a:r>
          </a:p>
          <a:p>
            <a:r>
              <a:rPr lang="en-US" dirty="0"/>
              <a:t>Remove Activity Feed Item in New Teams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909DC09D-B9A6-4493-9A72-1CA7ECB1F5CA}"/>
              </a:ext>
            </a:extLst>
          </p:cNvPr>
          <p:cNvSpPr/>
          <p:nvPr/>
        </p:nvSpPr>
        <p:spPr>
          <a:xfrm>
            <a:off x="911352" y="2310962"/>
            <a:ext cx="10610088" cy="491691"/>
          </a:xfrm>
          <a:prstGeom prst="roundRect">
            <a:avLst/>
          </a:prstGeom>
          <a:noFill/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pPr algn="ctr"/>
            <a:endParaRPr lang="de-DE" dirty="0"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4083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55081AF-D9C8-838D-615A-96392EF023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oft Teams Voice </a:t>
            </a:r>
            <a:r>
              <a:rPr lang="de-DE" dirty="0" err="1"/>
              <a:t>isolatio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803E2D-6F7B-F3F9-2FE5-3ABC7DF11C2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KI-basierte Filterung von Hintergrundgeräuschen auf Basis des persönlichen Sprachprofils</a:t>
            </a:r>
          </a:p>
          <a:p>
            <a:r>
              <a:rPr lang="de-DE" dirty="0"/>
              <a:t>Automatisch aktiviert, sobald im Mandanten verfügbar</a:t>
            </a:r>
          </a:p>
          <a:p>
            <a:r>
              <a:rPr lang="de-DE" dirty="0"/>
              <a:t>Anwender müssen aktiv ein Sprachprofil über den Teams-Client einrichten</a:t>
            </a:r>
          </a:p>
          <a:p>
            <a:r>
              <a:rPr lang="de-DE" dirty="0"/>
              <a:t>Einstellung über Set-</a:t>
            </a:r>
            <a:r>
              <a:rPr lang="de-DE" dirty="0" err="1"/>
              <a:t>CsTeamsMeetingPolicy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393326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55081AF-D9C8-838D-615A-96392EF023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oft Teams Voice </a:t>
            </a:r>
            <a:r>
              <a:rPr lang="de-DE" dirty="0" err="1"/>
              <a:t>isolation</a:t>
            </a:r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90A524DF-91FA-6176-2A80-34D0DBF5FD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47702" y="1892197"/>
            <a:ext cx="7696596" cy="398800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4EDF85B8-D24E-2DDF-B0EC-4DDE12768F65}"/>
              </a:ext>
            </a:extLst>
          </p:cNvPr>
          <p:cNvSpPr/>
          <p:nvPr/>
        </p:nvSpPr>
        <p:spPr>
          <a:xfrm>
            <a:off x="2130552" y="5550408"/>
            <a:ext cx="1655064" cy="329794"/>
          </a:xfrm>
          <a:prstGeom prst="roundRect">
            <a:avLst/>
          </a:prstGeom>
          <a:noFill/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pPr algn="ctr"/>
            <a:endParaRPr lang="de-DE" dirty="0">
              <a:latin typeface="Aptos" panose="020B0004020202020204" pitchFamily="34" charset="0"/>
            </a:endParaRP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277F5246-27E5-7444-20A1-67DE2C450159}"/>
              </a:ext>
            </a:extLst>
          </p:cNvPr>
          <p:cNvSpPr/>
          <p:nvPr/>
        </p:nvSpPr>
        <p:spPr>
          <a:xfrm>
            <a:off x="5721096" y="1990344"/>
            <a:ext cx="4340352" cy="1630680"/>
          </a:xfrm>
          <a:prstGeom prst="roundRect">
            <a:avLst/>
          </a:prstGeom>
          <a:noFill/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pPr algn="ctr"/>
            <a:endParaRPr lang="de-DE" dirty="0"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638212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D12969B4-351A-4517-A5B8-3E6AD9CDB2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Neuigkeiten in Microsoft Teams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24DACB5-1BEC-4C86-9652-BAFD8DE56F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683240" cy="5032375"/>
          </a:xfrm>
        </p:spPr>
        <p:txBody>
          <a:bodyPr>
            <a:normAutofit/>
          </a:bodyPr>
          <a:lstStyle/>
          <a:p>
            <a:r>
              <a:rPr lang="en-US" dirty="0"/>
              <a:t>Private Line</a:t>
            </a:r>
          </a:p>
          <a:p>
            <a:r>
              <a:rPr lang="en-US" dirty="0"/>
              <a:t>Microsoft Teams Voice isolation</a:t>
            </a:r>
          </a:p>
          <a:p>
            <a:r>
              <a:rPr lang="en-US" dirty="0"/>
              <a:t>Listen to Multiple Channels on Teams Walkie Talkie</a:t>
            </a:r>
          </a:p>
          <a:p>
            <a:r>
              <a:rPr lang="en-US" dirty="0"/>
              <a:t>Quick Conflict Peek when you RSVP on Calendar Event Detail page</a:t>
            </a:r>
          </a:p>
          <a:p>
            <a:r>
              <a:rPr lang="en-US" dirty="0"/>
              <a:t>Remove Activity Feed Item in New Teams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909DC09D-B9A6-4493-9A72-1CA7ECB1F5CA}"/>
              </a:ext>
            </a:extLst>
          </p:cNvPr>
          <p:cNvSpPr/>
          <p:nvPr/>
        </p:nvSpPr>
        <p:spPr>
          <a:xfrm>
            <a:off x="911352" y="2812002"/>
            <a:ext cx="10610088" cy="491691"/>
          </a:xfrm>
          <a:prstGeom prst="roundRect">
            <a:avLst/>
          </a:prstGeom>
          <a:noFill/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pPr algn="ctr"/>
            <a:endParaRPr lang="de-DE" dirty="0"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7662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ACB00B-D976-F4B5-A542-07A0F0A1E0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sten to Multiple Channels on Teams Walkie Talkie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72D1A84-4624-FF3E-BB7C-E0A17779449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Automatischen Zuhören in den favorisierten Kanälen</a:t>
            </a:r>
          </a:p>
          <a:p>
            <a:r>
              <a:rPr lang="de-DE" dirty="0"/>
              <a:t>Kein manueller Wechsel der Kanäle erforderlich</a:t>
            </a:r>
          </a:p>
          <a:p>
            <a:r>
              <a:rPr lang="de-DE" dirty="0"/>
              <a:t>Kanäle müssen "gepinnt" sein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7B2C5E8D-1FE0-934F-3089-A4F4403DC7AB}"/>
              </a:ext>
            </a:extLst>
          </p:cNvPr>
          <p:cNvSpPr txBox="1"/>
          <p:nvPr/>
        </p:nvSpPr>
        <p:spPr>
          <a:xfrm>
            <a:off x="838200" y="6167819"/>
            <a:ext cx="39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latin typeface="Aptos" panose="020B0004020202020204" pitchFamily="34" charset="0"/>
                <a:hlinkClick r:id="rId2"/>
              </a:rPr>
              <a:t>Weitere Informationen</a:t>
            </a:r>
            <a:endParaRPr lang="de-DE" dirty="0"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242397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D12969B4-351A-4517-A5B8-3E6AD9CDB2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Neuigkeiten in Microsoft Teams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24DACB5-1BEC-4C86-9652-BAFD8DE56F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683240" cy="5032375"/>
          </a:xfrm>
        </p:spPr>
        <p:txBody>
          <a:bodyPr>
            <a:normAutofit/>
          </a:bodyPr>
          <a:lstStyle/>
          <a:p>
            <a:r>
              <a:rPr lang="en-US" dirty="0"/>
              <a:t>Private Line</a:t>
            </a:r>
          </a:p>
          <a:p>
            <a:r>
              <a:rPr lang="en-US" dirty="0"/>
              <a:t>Microsoft Teams Voice isolation</a:t>
            </a:r>
          </a:p>
          <a:p>
            <a:r>
              <a:rPr lang="en-US" dirty="0"/>
              <a:t>Listen to Multiple Channels on Teams Walkie Talkie</a:t>
            </a:r>
          </a:p>
          <a:p>
            <a:r>
              <a:rPr lang="en-US" dirty="0"/>
              <a:t>Quick Conflict Peek when you RSVP on Calendar Event Detail page</a:t>
            </a:r>
          </a:p>
          <a:p>
            <a:r>
              <a:rPr lang="en-US" dirty="0"/>
              <a:t>Remove Activity Feed Item in New Teams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909DC09D-B9A6-4493-9A72-1CA7ECB1F5CA}"/>
              </a:ext>
            </a:extLst>
          </p:cNvPr>
          <p:cNvSpPr/>
          <p:nvPr/>
        </p:nvSpPr>
        <p:spPr>
          <a:xfrm>
            <a:off x="911352" y="3338094"/>
            <a:ext cx="10610088" cy="491691"/>
          </a:xfrm>
          <a:prstGeom prst="roundRect">
            <a:avLst/>
          </a:prstGeom>
          <a:noFill/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pPr algn="ctr"/>
            <a:endParaRPr lang="de-DE" dirty="0"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9868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D12969B4-351A-4517-A5B8-3E6AD9CDB2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Neuigkeiten in Microsoft Teams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24DACB5-1BEC-4C86-9652-BAFD8DE56F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683240" cy="5032375"/>
          </a:xfrm>
        </p:spPr>
        <p:txBody>
          <a:bodyPr>
            <a:normAutofit/>
          </a:bodyPr>
          <a:lstStyle/>
          <a:p>
            <a:r>
              <a:rPr lang="en-US" dirty="0"/>
              <a:t>Private Line</a:t>
            </a:r>
          </a:p>
          <a:p>
            <a:r>
              <a:rPr lang="en-US" dirty="0"/>
              <a:t>Microsoft Teams Voice isolation</a:t>
            </a:r>
          </a:p>
          <a:p>
            <a:r>
              <a:rPr lang="en-US" dirty="0"/>
              <a:t>Listen to Multiple Channels on Teams Walkie Talkie</a:t>
            </a:r>
          </a:p>
          <a:p>
            <a:r>
              <a:rPr lang="en-US" dirty="0"/>
              <a:t>Quick Conflict Peek when you RSVP on Calendar Event Detail page</a:t>
            </a:r>
          </a:p>
          <a:p>
            <a:r>
              <a:rPr lang="en-US" dirty="0"/>
              <a:t>Remove Activity Feed Item in New Teams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909DC09D-B9A6-4493-9A72-1CA7ECB1F5CA}"/>
              </a:ext>
            </a:extLst>
          </p:cNvPr>
          <p:cNvSpPr/>
          <p:nvPr/>
        </p:nvSpPr>
        <p:spPr>
          <a:xfrm>
            <a:off x="911352" y="3851660"/>
            <a:ext cx="10610088" cy="491691"/>
          </a:xfrm>
          <a:prstGeom prst="roundRect">
            <a:avLst/>
          </a:prstGeom>
          <a:noFill/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pPr algn="ctr"/>
            <a:endParaRPr lang="de-DE" dirty="0"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7969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4">
            <a:extLst>
              <a:ext uri="{FF2B5EF4-FFF2-40B4-BE49-F238E27FC236}">
                <a16:creationId xmlns:a16="http://schemas.microsoft.com/office/drawing/2014/main" id="{975DA8F4-571A-B180-DCD8-5F4B02C2D3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8353" y="2436742"/>
            <a:ext cx="10369248" cy="1736563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E32F3E57-A399-C2A7-167C-43A640D9E55D}"/>
              </a:ext>
            </a:extLst>
          </p:cNvPr>
          <p:cNvSpPr txBox="1"/>
          <p:nvPr/>
        </p:nvSpPr>
        <p:spPr>
          <a:xfrm>
            <a:off x="3048762" y="5768407"/>
            <a:ext cx="609447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2800" dirty="0">
                <a:latin typeface="Aptos" panose="020B0004020202020204" pitchFamily="34" charset="0"/>
                <a:hlinkClick r:id="rId4"/>
              </a:rPr>
              <a:t>https://spirit21.com</a:t>
            </a:r>
            <a:r>
              <a:rPr lang="de-DE" sz="2800" dirty="0">
                <a:latin typeface="Aptos" panose="020B00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45829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ED3CA50-B9E3-1BA8-13B7-6553742A75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move Activity Feed Item in New Teams</a:t>
            </a:r>
            <a:endParaRPr lang="de-DE" dirty="0"/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FE85DE35-AB4A-490F-1310-B0787D0CA80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65" t="12176" r="12513" b="12625"/>
          <a:stretch/>
        </p:blipFill>
        <p:spPr bwMode="auto">
          <a:xfrm>
            <a:off x="1709928" y="1389888"/>
            <a:ext cx="8778240" cy="4956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8BCA6167-C3EA-5F22-0965-1CF66A96DA21}"/>
              </a:ext>
            </a:extLst>
          </p:cNvPr>
          <p:cNvSpPr/>
          <p:nvPr/>
        </p:nvSpPr>
        <p:spPr>
          <a:xfrm>
            <a:off x="3767328" y="2715451"/>
            <a:ext cx="1353312" cy="448373"/>
          </a:xfrm>
          <a:prstGeom prst="roundRect">
            <a:avLst/>
          </a:prstGeom>
          <a:noFill/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pPr algn="ctr"/>
            <a:endParaRPr lang="de-DE" dirty="0"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8453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F3A15CBD-C746-44A3-A4F0-4898CE2F02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/>
              <a:t>Neues in Microsoft Teams</a:t>
            </a:r>
            <a:br>
              <a:rPr lang="de-DE"/>
            </a:br>
            <a:r>
              <a:rPr lang="de-DE"/>
              <a:t>Ankündigungen &amp; Rollouts </a:t>
            </a:r>
            <a:br>
              <a:rPr lang="de-DE"/>
            </a:br>
            <a:r>
              <a:rPr lang="de-DE"/>
              <a:t>für Admins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3459BE7-1731-4733-A912-12977C68CF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Meetup #28 </a:t>
            </a:r>
            <a:br>
              <a:rPr lang="de-DE" dirty="0"/>
            </a:br>
            <a:br>
              <a:rPr lang="de-DE" dirty="0"/>
            </a:br>
            <a:r>
              <a:rPr lang="de-DE" dirty="0"/>
              <a:t>Thomas Stensitzki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A0204B4B-AC00-4A91-B83C-FDA5915CC9E5}"/>
              </a:ext>
            </a:extLst>
          </p:cNvPr>
          <p:cNvSpPr txBox="1"/>
          <p:nvPr/>
        </p:nvSpPr>
        <p:spPr>
          <a:xfrm rot="20570296">
            <a:off x="6143557" y="3927744"/>
            <a:ext cx="513567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0" b="1" dirty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  <a:latin typeface="Aptos" panose="020B0004020202020204" pitchFamily="34" charset="0"/>
              </a:rPr>
              <a:t>Updates</a:t>
            </a:r>
          </a:p>
        </p:txBody>
      </p:sp>
      <p:pic>
        <p:nvPicPr>
          <p:cNvPr id="3" name="Grafik 2" descr="Ein Bild, das Symbol, Logo, Grafiken, Screenshot enthält.&#10;&#10;Automatisch generierte Beschreibung">
            <a:extLst>
              <a:ext uri="{FF2B5EF4-FFF2-40B4-BE49-F238E27FC236}">
                <a16:creationId xmlns:a16="http://schemas.microsoft.com/office/drawing/2014/main" id="{C61DC060-45E2-C7DD-1E04-4E20BAFB2FF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089" y="0"/>
            <a:ext cx="2438400" cy="243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2477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D12969B4-351A-4517-A5B8-3E6AD9CDB2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Neuigkeiten in Microsoft Teams für Admins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24DACB5-1BEC-4C86-9652-BAFD8DE56F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617200" cy="5032375"/>
          </a:xfrm>
        </p:spPr>
        <p:txBody>
          <a:bodyPr>
            <a:normAutofit/>
          </a:bodyPr>
          <a:lstStyle/>
          <a:p>
            <a:r>
              <a:rPr lang="en-US" dirty="0"/>
              <a:t>Tags management settings now include option to exclude / include guests</a:t>
            </a:r>
          </a:p>
          <a:p>
            <a:r>
              <a:rPr lang="en-US" dirty="0"/>
              <a:t>Collaborative Notes in Channel Meetings</a:t>
            </a:r>
          </a:p>
          <a:p>
            <a:r>
              <a:rPr lang="en-US" dirty="0"/>
              <a:t>New Shared display mode for BYOD meeting rooms</a:t>
            </a:r>
          </a:p>
          <a:p>
            <a:r>
              <a:rPr lang="en-US" dirty="0"/>
              <a:t>Microsoft Graph Virtual Appointment SMS API Beta Launch</a:t>
            </a:r>
          </a:p>
          <a:p>
            <a:r>
              <a:rPr lang="en-US" dirty="0"/>
              <a:t>Teams app on Teams Rooms on Android and paired Touch Consoles to be updated in sync</a:t>
            </a:r>
          </a:p>
          <a:p>
            <a:r>
              <a:rPr lang="en-US" dirty="0"/>
              <a:t>Teams Phone and Teams Rooms licenses in device store</a:t>
            </a:r>
          </a:p>
          <a:p>
            <a:r>
              <a:rPr lang="en-US"/>
              <a:t>General </a:t>
            </a:r>
            <a:r>
              <a:rPr lang="en-US" dirty="0"/>
              <a:t>availability of new Teams on web for Edge and Chrome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909DC09D-B9A6-4493-9A72-1CA7ECB1F5CA}"/>
              </a:ext>
            </a:extLst>
          </p:cNvPr>
          <p:cNvSpPr/>
          <p:nvPr/>
        </p:nvSpPr>
        <p:spPr>
          <a:xfrm>
            <a:off x="838200" y="1825624"/>
            <a:ext cx="10515600" cy="881000"/>
          </a:xfrm>
          <a:prstGeom prst="roundRect">
            <a:avLst/>
          </a:prstGeom>
          <a:noFill/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pPr algn="ctr"/>
            <a:endParaRPr lang="de-DE" dirty="0"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7612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4B86EDB-B1A4-5B04-0041-42F698A391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gs management settings now include option to exclude / include guests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BFEC616-7F44-6AC0-3969-05891FD180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Tag-Verwaltung wird um eine zusätzliche Option ergänzt</a:t>
            </a:r>
          </a:p>
          <a:p>
            <a:r>
              <a:rPr lang="de-DE" dirty="0"/>
              <a:t>Gäste können mit der zusätzlichen Option Tags verwalten</a:t>
            </a:r>
          </a:p>
          <a:p>
            <a:pPr marL="0" indent="0">
              <a:buNone/>
            </a:pPr>
            <a:r>
              <a:rPr lang="de-DE" dirty="0"/>
              <a:t>Bisher</a:t>
            </a:r>
          </a:p>
          <a:p>
            <a:pPr lvl="1"/>
            <a:r>
              <a:rPr lang="en-US" dirty="0"/>
              <a:t>"Microsoft Standard"</a:t>
            </a:r>
          </a:p>
          <a:p>
            <a:pPr lvl="1"/>
            <a:r>
              <a:rPr lang="en-US" dirty="0"/>
              <a:t>"</a:t>
            </a:r>
            <a:r>
              <a:rPr lang="en-US" dirty="0" err="1"/>
              <a:t>Teambesitzer</a:t>
            </a:r>
            <a:r>
              <a:rPr lang="en-US" dirty="0"/>
              <a:t>"</a:t>
            </a:r>
          </a:p>
          <a:p>
            <a:pPr lvl="1"/>
            <a:r>
              <a:rPr lang="en-US" dirty="0"/>
              <a:t>"</a:t>
            </a:r>
            <a:r>
              <a:rPr lang="en-US" dirty="0" err="1"/>
              <a:t>Teambesitzer</a:t>
            </a:r>
            <a:r>
              <a:rPr lang="en-US" dirty="0"/>
              <a:t>/-</a:t>
            </a:r>
            <a:r>
              <a:rPr lang="en-US" dirty="0" err="1"/>
              <a:t>mitglieder</a:t>
            </a:r>
            <a:r>
              <a:rPr lang="en-US" dirty="0"/>
              <a:t>"</a:t>
            </a:r>
          </a:p>
          <a:p>
            <a:pPr marL="0" indent="0">
              <a:buNone/>
            </a:pPr>
            <a:r>
              <a:rPr lang="en-US" dirty="0"/>
              <a:t>Neue Option</a:t>
            </a:r>
          </a:p>
          <a:p>
            <a:pPr lvl="1"/>
            <a:r>
              <a:rPr lang="en-US" dirty="0"/>
              <a:t>"</a:t>
            </a:r>
            <a:r>
              <a:rPr lang="en-US" dirty="0" err="1"/>
              <a:t>Teambesitzer</a:t>
            </a:r>
            <a:r>
              <a:rPr lang="en-US" dirty="0"/>
              <a:t>/-</a:t>
            </a:r>
            <a:r>
              <a:rPr lang="en-US" dirty="0" err="1"/>
              <a:t>mitglieder</a:t>
            </a:r>
            <a:r>
              <a:rPr lang="en-US" dirty="0"/>
              <a:t> und </a:t>
            </a:r>
            <a:r>
              <a:rPr lang="en-US" dirty="0" err="1"/>
              <a:t>Gäste</a:t>
            </a:r>
            <a:r>
              <a:rPr lang="en-US" dirty="0"/>
              <a:t>"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A19F94DD-5690-C6D5-4B13-34691A3935DA}"/>
              </a:ext>
            </a:extLst>
          </p:cNvPr>
          <p:cNvSpPr txBox="1"/>
          <p:nvPr/>
        </p:nvSpPr>
        <p:spPr>
          <a:xfrm>
            <a:off x="838200" y="6167819"/>
            <a:ext cx="39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latin typeface="Aptos" panose="020B0004020202020204" pitchFamily="34" charset="0"/>
                <a:hlinkClick r:id="rId2"/>
              </a:rPr>
              <a:t>Weitere Informationen</a:t>
            </a:r>
            <a:endParaRPr lang="de-DE" dirty="0"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938913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D12969B4-351A-4517-A5B8-3E6AD9CDB2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Neuigkeiten in Microsoft Teams für Admins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24DACB5-1BEC-4C86-9652-BAFD8DE56F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617200" cy="5032375"/>
          </a:xfrm>
        </p:spPr>
        <p:txBody>
          <a:bodyPr>
            <a:normAutofit/>
          </a:bodyPr>
          <a:lstStyle/>
          <a:p>
            <a:r>
              <a:rPr lang="en-US" dirty="0"/>
              <a:t>Tags management settings now include option to exclude / include guests</a:t>
            </a:r>
          </a:p>
          <a:p>
            <a:r>
              <a:rPr lang="en-US" dirty="0"/>
              <a:t>Collaborative Notes in Channel Meetings</a:t>
            </a:r>
          </a:p>
          <a:p>
            <a:r>
              <a:rPr lang="en-US" dirty="0"/>
              <a:t>New Shared display mode for BYOD meeting rooms</a:t>
            </a:r>
          </a:p>
          <a:p>
            <a:r>
              <a:rPr lang="en-US" dirty="0"/>
              <a:t>Microsoft Graph Virtual Appointment SMS API Beta Launch</a:t>
            </a:r>
          </a:p>
          <a:p>
            <a:r>
              <a:rPr lang="en-US" dirty="0"/>
              <a:t>Teams app on Teams Rooms on Android and paired Touch Consoles to be updated in sync</a:t>
            </a:r>
          </a:p>
          <a:p>
            <a:r>
              <a:rPr lang="en-US" dirty="0"/>
              <a:t>Teams Phone and Teams Rooms licenses in device store</a:t>
            </a:r>
          </a:p>
          <a:p>
            <a:r>
              <a:rPr lang="en-US"/>
              <a:t>General </a:t>
            </a:r>
            <a:r>
              <a:rPr lang="en-US" dirty="0"/>
              <a:t>availability of new Teams on web for Edge and Chrome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909DC09D-B9A6-4493-9A72-1CA7ECB1F5CA}"/>
              </a:ext>
            </a:extLst>
          </p:cNvPr>
          <p:cNvSpPr/>
          <p:nvPr/>
        </p:nvSpPr>
        <p:spPr>
          <a:xfrm>
            <a:off x="838200" y="2668044"/>
            <a:ext cx="10515600" cy="527094"/>
          </a:xfrm>
          <a:prstGeom prst="roundRect">
            <a:avLst/>
          </a:prstGeom>
          <a:noFill/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pPr algn="ctr"/>
            <a:endParaRPr lang="de-DE" dirty="0"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3091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C0C109-8924-7CD0-94A2-CCBAA7A705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llaborative Notes in Channel Meeting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12225EC-F645-4E0C-1905-945412E15C2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Finale Abschaltung der Wiki-basierten Notizen</a:t>
            </a:r>
          </a:p>
          <a:p>
            <a:r>
              <a:rPr lang="de-DE" dirty="0"/>
              <a:t>Microsoft Loop-basierte Agenda, Notizen und Aufgaben</a:t>
            </a:r>
          </a:p>
          <a:p>
            <a:r>
              <a:rPr lang="de-DE" dirty="0"/>
              <a:t>Nur verfügbar im neuen Teams Client</a:t>
            </a:r>
          </a:p>
          <a:p>
            <a:r>
              <a:rPr lang="de-DE" dirty="0"/>
              <a:t>Noch nicht verfügbar in Teams EDU</a:t>
            </a:r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  <a:p>
            <a:pPr marL="0" indent="0">
              <a:buNone/>
            </a:pPr>
            <a:r>
              <a:rPr lang="de-DE" dirty="0"/>
              <a:t>Set-</a:t>
            </a:r>
            <a:r>
              <a:rPr lang="de-DE" dirty="0" err="1"/>
              <a:t>SPOTenant</a:t>
            </a:r>
            <a:r>
              <a:rPr lang="de-DE" dirty="0"/>
              <a:t> -</a:t>
            </a:r>
            <a:r>
              <a:rPr lang="de-DE" dirty="0" err="1"/>
              <a:t>IsCollabMeetingNotesFluidEnabled</a:t>
            </a:r>
            <a:r>
              <a:rPr lang="de-DE" dirty="0"/>
              <a:t> 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987A0CBB-270C-AFE4-5730-F0BE7F6435AE}"/>
              </a:ext>
            </a:extLst>
          </p:cNvPr>
          <p:cNvSpPr txBox="1"/>
          <p:nvPr/>
        </p:nvSpPr>
        <p:spPr>
          <a:xfrm>
            <a:off x="838200" y="6167819"/>
            <a:ext cx="39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latin typeface="Aptos" panose="020B0004020202020204" pitchFamily="34" charset="0"/>
                <a:hlinkClick r:id="rId2"/>
              </a:rPr>
              <a:t>Weitere Informationen</a:t>
            </a:r>
            <a:endParaRPr lang="de-DE" dirty="0"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172286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D12969B4-351A-4517-A5B8-3E6AD9CDB2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Neuigkeiten in Microsoft Teams für Admins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24DACB5-1BEC-4C86-9652-BAFD8DE56F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617200" cy="5032375"/>
          </a:xfrm>
        </p:spPr>
        <p:txBody>
          <a:bodyPr>
            <a:normAutofit/>
          </a:bodyPr>
          <a:lstStyle/>
          <a:p>
            <a:r>
              <a:rPr lang="en-US" dirty="0"/>
              <a:t>Tags management settings now include option to exclude / include guests</a:t>
            </a:r>
          </a:p>
          <a:p>
            <a:r>
              <a:rPr lang="en-US" dirty="0"/>
              <a:t>Collaborative Notes in Channel Meetings</a:t>
            </a:r>
          </a:p>
          <a:p>
            <a:r>
              <a:rPr lang="en-US" dirty="0"/>
              <a:t>New Shared display mode for BYOD meeting rooms</a:t>
            </a:r>
          </a:p>
          <a:p>
            <a:r>
              <a:rPr lang="en-US" dirty="0"/>
              <a:t>Microsoft Graph Virtual Appointment SMS API Beta Launch</a:t>
            </a:r>
          </a:p>
          <a:p>
            <a:r>
              <a:rPr lang="en-US" dirty="0"/>
              <a:t>Teams app on Teams Rooms on Android and paired Touch Consoles to be updated in sync</a:t>
            </a:r>
          </a:p>
          <a:p>
            <a:r>
              <a:rPr lang="en-US" dirty="0"/>
              <a:t>Teams Phone and Teams Rooms licenses in device store</a:t>
            </a:r>
          </a:p>
          <a:p>
            <a:r>
              <a:rPr lang="en-US"/>
              <a:t>General </a:t>
            </a:r>
            <a:r>
              <a:rPr lang="en-US" dirty="0"/>
              <a:t>availability of new Teams on web for Edge and Chrome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909DC09D-B9A6-4493-9A72-1CA7ECB1F5CA}"/>
              </a:ext>
            </a:extLst>
          </p:cNvPr>
          <p:cNvSpPr/>
          <p:nvPr/>
        </p:nvSpPr>
        <p:spPr>
          <a:xfrm>
            <a:off x="838200" y="3165453"/>
            <a:ext cx="10515600" cy="527094"/>
          </a:xfrm>
          <a:prstGeom prst="roundRect">
            <a:avLst/>
          </a:prstGeom>
          <a:noFill/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pPr algn="ctr"/>
            <a:endParaRPr lang="de-DE" dirty="0"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9597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0CBA98-16D6-FAE3-CDCA-D8C879EF6D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Shared display mode for BYOD meeting rooms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B3C2F80-476C-5030-E8CF-CC20B25EFB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3907536" cy="4351338"/>
          </a:xfrm>
        </p:spPr>
        <p:txBody>
          <a:bodyPr/>
          <a:lstStyle/>
          <a:p>
            <a:r>
              <a:rPr lang="de-DE" dirty="0"/>
              <a:t>Pop-Out View-Only Ansicht des Teams Meetings (Stage) zur Anzeige auf einem separaten Bildschirm</a:t>
            </a:r>
          </a:p>
          <a:p>
            <a:endParaRPr lang="de-DE" dirty="0"/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9E76A532-8552-72C8-CAFC-9BDFFAA1AB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5736" y="1825625"/>
            <a:ext cx="7117080" cy="400335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4695956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D12969B4-351A-4517-A5B8-3E6AD9CDB2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Neuigkeiten in Microsoft Teams für Admins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24DACB5-1BEC-4C86-9652-BAFD8DE56F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617200" cy="5032375"/>
          </a:xfrm>
        </p:spPr>
        <p:txBody>
          <a:bodyPr>
            <a:normAutofit/>
          </a:bodyPr>
          <a:lstStyle/>
          <a:p>
            <a:r>
              <a:rPr lang="en-US" dirty="0"/>
              <a:t>Tags management settings now include option to exclude / include guests</a:t>
            </a:r>
          </a:p>
          <a:p>
            <a:r>
              <a:rPr lang="en-US" dirty="0"/>
              <a:t>Collaborative Notes in Channel Meetings</a:t>
            </a:r>
          </a:p>
          <a:p>
            <a:r>
              <a:rPr lang="en-US" dirty="0"/>
              <a:t>New Shared display mode for BYOD meeting rooms</a:t>
            </a:r>
          </a:p>
          <a:p>
            <a:r>
              <a:rPr lang="en-US" dirty="0"/>
              <a:t>Microsoft Graph Virtual Appointment SMS API Beta Launch</a:t>
            </a:r>
          </a:p>
          <a:p>
            <a:r>
              <a:rPr lang="en-US" dirty="0"/>
              <a:t>Teams app on Teams Rooms on Android and paired Touch Consoles to be updated in sync</a:t>
            </a:r>
          </a:p>
          <a:p>
            <a:r>
              <a:rPr lang="en-US" dirty="0"/>
              <a:t>Teams Phone and Teams Rooms licenses in device store</a:t>
            </a:r>
          </a:p>
          <a:p>
            <a:r>
              <a:rPr lang="en-US"/>
              <a:t>General </a:t>
            </a:r>
            <a:r>
              <a:rPr lang="en-US" dirty="0"/>
              <a:t>availability of new Teams on web for Edge and Chrome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909DC09D-B9A6-4493-9A72-1CA7ECB1F5CA}"/>
              </a:ext>
            </a:extLst>
          </p:cNvPr>
          <p:cNvSpPr/>
          <p:nvPr/>
        </p:nvSpPr>
        <p:spPr>
          <a:xfrm>
            <a:off x="838200" y="3704072"/>
            <a:ext cx="10515600" cy="527094"/>
          </a:xfrm>
          <a:prstGeom prst="roundRect">
            <a:avLst/>
          </a:prstGeom>
          <a:noFill/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pPr algn="ctr"/>
            <a:endParaRPr lang="de-DE" dirty="0"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9813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0F0071F-7196-73AB-A813-F4DE45B620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oft Graph Virtual Appointment SMS API Beta Launch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36A0348-3867-A8F3-0A78-345DEB17AC9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MS Graph API-Zugriff zum Versand von SMS-Erinnerung für die Teilnahme an virtuellen Terminen</a:t>
            </a:r>
          </a:p>
          <a:p>
            <a:r>
              <a:rPr lang="de-DE" dirty="0"/>
              <a:t>Teilnehmende können den Empfang von SMS-Nachrichten steuern</a:t>
            </a:r>
          </a:p>
          <a:p>
            <a:pPr lvl="1"/>
            <a:r>
              <a:rPr lang="de-DE" dirty="0"/>
              <a:t>START / STOP</a:t>
            </a:r>
          </a:p>
          <a:p>
            <a:r>
              <a:rPr lang="de-DE" dirty="0"/>
              <a:t>Aktuell (noch) eingeschränkt auf US-Rufnummern</a:t>
            </a:r>
          </a:p>
        </p:txBody>
      </p:sp>
    </p:spTree>
    <p:extLst>
      <p:ext uri="{BB962C8B-B14F-4D97-AF65-F5344CB8AC3E}">
        <p14:creationId xmlns:p14="http://schemas.microsoft.com/office/powerpoint/2010/main" val="12982458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Ein Bild, das Grafiken, Schrift, Grafikdesign, Logo enthält.&#10;&#10;Automatisch generierte Beschreibung">
            <a:extLst>
              <a:ext uri="{FF2B5EF4-FFF2-40B4-BE49-F238E27FC236}">
                <a16:creationId xmlns:a16="http://schemas.microsoft.com/office/drawing/2014/main" id="{401BDEF3-90E0-DBBA-9FF5-31659B075E2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3614" y="1714136"/>
            <a:ext cx="9104772" cy="2018442"/>
          </a:xfrm>
          <a:prstGeom prst="rect">
            <a:avLst/>
          </a:prstGeom>
        </p:spPr>
      </p:pic>
      <p:pic>
        <p:nvPicPr>
          <p:cNvPr id="1026" name="Picture 2" descr="Werbegrafik für das Microsoft Teams Call Quality Dashboard der Firma ENow.">
            <a:hlinkClick r:id="rId3"/>
            <a:extLst>
              <a:ext uri="{FF2B5EF4-FFF2-40B4-BE49-F238E27FC236}">
                <a16:creationId xmlns:a16="http://schemas.microsoft.com/office/drawing/2014/main" id="{A56E732E-05A6-05FC-08CC-655BB58534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803" y="4653327"/>
            <a:ext cx="1965961" cy="163830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rafik 7" descr="Ein Bild, das Muster, Quadrat, Symmetrie, Kunst enthält.&#10;&#10;Automatisch generierte Beschreibung">
            <a:extLst>
              <a:ext uri="{FF2B5EF4-FFF2-40B4-BE49-F238E27FC236}">
                <a16:creationId xmlns:a16="http://schemas.microsoft.com/office/drawing/2014/main" id="{2EB55981-0768-CE03-F2D9-17DC21F5CED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9236" y="4653327"/>
            <a:ext cx="1638300" cy="1638300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EC6809E7-B0BE-CA65-ACDC-5D372BBD27CD}"/>
              </a:ext>
            </a:extLst>
          </p:cNvPr>
          <p:cNvSpPr txBox="1"/>
          <p:nvPr/>
        </p:nvSpPr>
        <p:spPr>
          <a:xfrm>
            <a:off x="3048762" y="5768407"/>
            <a:ext cx="609447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2800" dirty="0">
                <a:latin typeface="Aptos" panose="020B0004020202020204" pitchFamily="34" charset="0"/>
                <a:hlinkClick r:id="rId6"/>
              </a:rPr>
              <a:t>https://www.enowsoftware.com</a:t>
            </a:r>
            <a:r>
              <a:rPr lang="de-DE" sz="2800" dirty="0">
                <a:latin typeface="Aptos" panose="020B00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80172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D12969B4-351A-4517-A5B8-3E6AD9CDB2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Neuigkeiten in Microsoft Teams für Admins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24DACB5-1BEC-4C86-9652-BAFD8DE56F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617200" cy="5032375"/>
          </a:xfrm>
        </p:spPr>
        <p:txBody>
          <a:bodyPr>
            <a:normAutofit/>
          </a:bodyPr>
          <a:lstStyle/>
          <a:p>
            <a:r>
              <a:rPr lang="en-US" dirty="0"/>
              <a:t>Tags management settings now include option to exclude / include guests</a:t>
            </a:r>
          </a:p>
          <a:p>
            <a:r>
              <a:rPr lang="en-US" dirty="0"/>
              <a:t>Collaborative Notes in Channel Meetings</a:t>
            </a:r>
          </a:p>
          <a:p>
            <a:r>
              <a:rPr lang="en-US" dirty="0"/>
              <a:t>New Shared display mode for BYOD meeting rooms</a:t>
            </a:r>
          </a:p>
          <a:p>
            <a:r>
              <a:rPr lang="en-US" dirty="0"/>
              <a:t>Microsoft Graph Virtual Appointment SMS API Beta Launch</a:t>
            </a:r>
          </a:p>
          <a:p>
            <a:r>
              <a:rPr lang="en-US" dirty="0"/>
              <a:t>Teams app on Teams Rooms on Android and paired Touch Consoles to be updated in sync</a:t>
            </a:r>
          </a:p>
          <a:p>
            <a:r>
              <a:rPr lang="en-US" dirty="0"/>
              <a:t>Teams Phone and Teams Rooms licenses in device store</a:t>
            </a:r>
          </a:p>
          <a:p>
            <a:r>
              <a:rPr lang="en-US"/>
              <a:t>General </a:t>
            </a:r>
            <a:r>
              <a:rPr lang="en-US" dirty="0"/>
              <a:t>availability of new Teams on web for Edge and Chrome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909DC09D-B9A6-4493-9A72-1CA7ECB1F5CA}"/>
              </a:ext>
            </a:extLst>
          </p:cNvPr>
          <p:cNvSpPr/>
          <p:nvPr/>
        </p:nvSpPr>
        <p:spPr>
          <a:xfrm>
            <a:off x="838200" y="4217639"/>
            <a:ext cx="10515600" cy="892980"/>
          </a:xfrm>
          <a:prstGeom prst="roundRect">
            <a:avLst/>
          </a:prstGeom>
          <a:noFill/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pPr algn="ctr"/>
            <a:endParaRPr lang="de-DE" dirty="0"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8868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448C4F-B1D3-7020-1CC0-D941739975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ams Phone and Teams Rooms licenses in device store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ACB2A52-D43E-E5A1-2E10-2920EF88CE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Erwerb von Teams Rooms und Teams Phone Lizenzen in Store des Teams Admin Center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Nur verfügbar für Globale Administratoren</a:t>
            </a:r>
          </a:p>
        </p:txBody>
      </p:sp>
    </p:spTree>
    <p:extLst>
      <p:ext uri="{BB962C8B-B14F-4D97-AF65-F5344CB8AC3E}">
        <p14:creationId xmlns:p14="http://schemas.microsoft.com/office/powerpoint/2010/main" val="287858566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D12969B4-351A-4517-A5B8-3E6AD9CDB2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Neuigkeiten in Microsoft Teams für Admins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24DACB5-1BEC-4C86-9652-BAFD8DE56F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617200" cy="5032375"/>
          </a:xfrm>
        </p:spPr>
        <p:txBody>
          <a:bodyPr>
            <a:normAutofit/>
          </a:bodyPr>
          <a:lstStyle/>
          <a:p>
            <a:r>
              <a:rPr lang="en-US" dirty="0"/>
              <a:t>Tags management settings now include option to exclude / include guests</a:t>
            </a:r>
          </a:p>
          <a:p>
            <a:r>
              <a:rPr lang="en-US" dirty="0"/>
              <a:t>Collaborative Notes in Channel Meetings</a:t>
            </a:r>
          </a:p>
          <a:p>
            <a:r>
              <a:rPr lang="en-US" dirty="0"/>
              <a:t>New Shared display mode for BYOD meeting rooms</a:t>
            </a:r>
          </a:p>
          <a:p>
            <a:r>
              <a:rPr lang="en-US" dirty="0"/>
              <a:t>Microsoft Graph Virtual Appointment SMS API Beta Launch</a:t>
            </a:r>
          </a:p>
          <a:p>
            <a:r>
              <a:rPr lang="en-US" dirty="0"/>
              <a:t>Teams app on Teams Rooms on Android and paired Touch Consoles to be updated in sync</a:t>
            </a:r>
          </a:p>
          <a:p>
            <a:r>
              <a:rPr lang="en-US" dirty="0"/>
              <a:t>Teams Phone and Teams Rooms licenses in device store</a:t>
            </a:r>
          </a:p>
          <a:p>
            <a:r>
              <a:rPr lang="en-US"/>
              <a:t>General </a:t>
            </a:r>
            <a:r>
              <a:rPr lang="en-US" dirty="0"/>
              <a:t>availability of new Teams on web for Edge and Chrome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909DC09D-B9A6-4493-9A72-1CA7ECB1F5CA}"/>
              </a:ext>
            </a:extLst>
          </p:cNvPr>
          <p:cNvSpPr/>
          <p:nvPr/>
        </p:nvSpPr>
        <p:spPr>
          <a:xfrm>
            <a:off x="838200" y="5106987"/>
            <a:ext cx="10515600" cy="527094"/>
          </a:xfrm>
          <a:prstGeom prst="roundRect">
            <a:avLst/>
          </a:prstGeom>
          <a:noFill/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pPr algn="ctr"/>
            <a:endParaRPr lang="de-DE" dirty="0"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7331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448C4F-B1D3-7020-1CC0-D941739975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ams Phone and Teams Rooms licenses in device store</a:t>
            </a:r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C1277FDF-F394-7472-BB15-B66AACD35F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71221" y="1580986"/>
            <a:ext cx="8249557" cy="499355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81659335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D12969B4-351A-4517-A5B8-3E6AD9CDB2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Neuigkeiten in Microsoft Teams für Admins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24DACB5-1BEC-4C86-9652-BAFD8DE56F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617200" cy="5032375"/>
          </a:xfrm>
        </p:spPr>
        <p:txBody>
          <a:bodyPr>
            <a:normAutofit/>
          </a:bodyPr>
          <a:lstStyle/>
          <a:p>
            <a:r>
              <a:rPr lang="en-US" dirty="0"/>
              <a:t>Tags management settings now include option to exclude / include guests</a:t>
            </a:r>
          </a:p>
          <a:p>
            <a:r>
              <a:rPr lang="en-US" dirty="0"/>
              <a:t>Collaborative Notes in Channel Meetings</a:t>
            </a:r>
          </a:p>
          <a:p>
            <a:r>
              <a:rPr lang="en-US" dirty="0"/>
              <a:t>New Shared display mode for BYOD meeting rooms</a:t>
            </a:r>
          </a:p>
          <a:p>
            <a:r>
              <a:rPr lang="en-US" dirty="0"/>
              <a:t>Microsoft Graph Virtual Appointment SMS API Beta Launch</a:t>
            </a:r>
          </a:p>
          <a:p>
            <a:r>
              <a:rPr lang="en-US" dirty="0"/>
              <a:t>Teams app on Teams Rooms on Android and paired Touch Consoles to be updated in sync</a:t>
            </a:r>
          </a:p>
          <a:p>
            <a:r>
              <a:rPr lang="en-US" dirty="0"/>
              <a:t>Teams Phone and Teams Rooms licenses in device store</a:t>
            </a:r>
          </a:p>
          <a:p>
            <a:r>
              <a:rPr lang="en-US"/>
              <a:t>General </a:t>
            </a:r>
            <a:r>
              <a:rPr lang="en-US" dirty="0"/>
              <a:t>availability of new Teams on web for Edge and Chrome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909DC09D-B9A6-4493-9A72-1CA7ECB1F5CA}"/>
              </a:ext>
            </a:extLst>
          </p:cNvPr>
          <p:cNvSpPr/>
          <p:nvPr/>
        </p:nvSpPr>
        <p:spPr>
          <a:xfrm>
            <a:off x="838200" y="5608028"/>
            <a:ext cx="10515600" cy="527094"/>
          </a:xfrm>
          <a:prstGeom prst="roundRect">
            <a:avLst/>
          </a:prstGeom>
          <a:noFill/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pPr algn="ctr"/>
            <a:endParaRPr lang="de-DE" dirty="0"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7561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F3A15CBD-C746-44A3-A4F0-4898CE2F02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6000" b="1" dirty="0"/>
              <a:t>Loop-Komponenten mit Microsoft Teams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3459BE7-1731-4733-A912-12977C68CF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i="1" dirty="0"/>
              <a:t>René </a:t>
            </a:r>
            <a:r>
              <a:rPr lang="de-DE" i="1" dirty="0" err="1"/>
              <a:t>Wasel</a:t>
            </a:r>
            <a:endParaRPr lang="de-DE" i="1" dirty="0"/>
          </a:p>
        </p:txBody>
      </p:sp>
      <p:pic>
        <p:nvPicPr>
          <p:cNvPr id="2" name="Grafik 1" descr="Ein Bild, das Symbol, Logo, Grafiken, Screenshot enthält.&#10;&#10;Automatisch generierte Beschreibung">
            <a:extLst>
              <a:ext uri="{FF2B5EF4-FFF2-40B4-BE49-F238E27FC236}">
                <a16:creationId xmlns:a16="http://schemas.microsoft.com/office/drawing/2014/main" id="{2D4F20BA-957A-E4A8-5973-4395A784304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089" y="0"/>
            <a:ext cx="2438400" cy="243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6025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F3A15CBD-C746-44A3-A4F0-4898CE2F02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49" y="1709738"/>
            <a:ext cx="10529257" cy="2852737"/>
          </a:xfrm>
        </p:spPr>
        <p:txBody>
          <a:bodyPr/>
          <a:lstStyle/>
          <a:p>
            <a:r>
              <a:rPr lang="de-DE" dirty="0"/>
              <a:t>Offene Teams Sprechstunde 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3459BE7-1731-4733-A912-12977C68CF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i="1" dirty="0"/>
          </a:p>
        </p:txBody>
      </p:sp>
      <p:pic>
        <p:nvPicPr>
          <p:cNvPr id="2" name="Grafik 1" descr="Ein Bild, das Symbol, Logo, Grafiken, Screenshot enthält.&#10;&#10;Automatisch generierte Beschreibung">
            <a:extLst>
              <a:ext uri="{FF2B5EF4-FFF2-40B4-BE49-F238E27FC236}">
                <a16:creationId xmlns:a16="http://schemas.microsoft.com/office/drawing/2014/main" id="{8ABE994D-B550-9FCC-E7C1-ECE0C1DCC1F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089" y="0"/>
            <a:ext cx="2438400" cy="243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2332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7534D53D-CBAC-847B-0F05-996F728A73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men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EB3EE15C-31D3-4DE1-85CD-5E2D24291A4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098461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D12969B4-351A-4517-A5B8-3E6AD9CDB2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icrosoft Teams – Links 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24DACB5-1BEC-4C86-9652-BAFD8DE56F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5032375"/>
          </a:xfrm>
        </p:spPr>
        <p:txBody>
          <a:bodyPr>
            <a:normAutofit/>
          </a:bodyPr>
          <a:lstStyle/>
          <a:p>
            <a:r>
              <a:rPr lang="en-US" dirty="0">
                <a:hlinkClick r:id="rId3"/>
              </a:rPr>
              <a:t>What’s New in Microsoft Teams | Microsoft Ignite 2023</a:t>
            </a:r>
            <a:endParaRPr lang="en-US" dirty="0"/>
          </a:p>
          <a:p>
            <a:endParaRPr lang="en-US" dirty="0"/>
          </a:p>
          <a:p>
            <a:r>
              <a:rPr lang="en-US" dirty="0">
                <a:hlinkClick r:id="rId4"/>
              </a:rPr>
              <a:t>What’s New in Microsoft Teams for Education | November 2023</a:t>
            </a:r>
            <a:endParaRPr lang="de-DE" dirty="0"/>
          </a:p>
          <a:p>
            <a:endParaRPr lang="de-DE" dirty="0">
              <a:hlinkClick r:id="rId5"/>
            </a:endParaRPr>
          </a:p>
          <a:p>
            <a:r>
              <a:rPr lang="de-DE" dirty="0">
                <a:hlinkClick r:id="rId5"/>
              </a:rPr>
              <a:t>Microsoft Teams Blog</a:t>
            </a:r>
            <a:r>
              <a:rPr lang="de-DE" dirty="0"/>
              <a:t> </a:t>
            </a:r>
          </a:p>
          <a:p>
            <a:r>
              <a:rPr lang="de-DE" dirty="0">
                <a:hlinkClick r:id="rId6"/>
              </a:rPr>
              <a:t>Microsoft Teams Community Blog</a:t>
            </a:r>
            <a:r>
              <a:rPr lang="de-DE" dirty="0"/>
              <a:t> </a:t>
            </a:r>
          </a:p>
          <a:p>
            <a:r>
              <a:rPr lang="de-DE" dirty="0">
                <a:hlinkClick r:id="rId7"/>
              </a:rPr>
              <a:t>Microsoft Teams Feedback Portal</a:t>
            </a:r>
            <a:endParaRPr lang="de-DE" dirty="0"/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1051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BC4CCBB5-60CA-4E97-BDCF-05CC269D74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69AC6E8A-ECCC-4CAE-8164-9F3F87C4F2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90526"/>
            <a:ext cx="12192000" cy="610234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AC653FA9-1AB6-49AB-B58A-9D12BB4A4394}"/>
              </a:ext>
            </a:extLst>
          </p:cNvPr>
          <p:cNvSpPr/>
          <p:nvPr/>
        </p:nvSpPr>
        <p:spPr>
          <a:xfrm>
            <a:off x="622300" y="3336130"/>
            <a:ext cx="11125200" cy="2988469"/>
          </a:xfrm>
          <a:prstGeom prst="rect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tlCol="0" anchor="ctr"/>
          <a:lstStyle/>
          <a:p>
            <a:pPr algn="ctr"/>
            <a:endParaRPr lang="de-DE" dirty="0">
              <a:latin typeface="Aptos" panose="020B0004020202020204" pitchFamily="34" charset="0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BAF0D92-4F5B-43B3-858F-5EAB5EC10308}"/>
              </a:ext>
            </a:extLst>
          </p:cNvPr>
          <p:cNvSpPr txBox="1"/>
          <p:nvPr/>
        </p:nvSpPr>
        <p:spPr>
          <a:xfrm>
            <a:off x="3511550" y="-4207"/>
            <a:ext cx="4768850" cy="646331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de-DE" dirty="0">
                <a:latin typeface="Aptos" panose="020B0004020202020204" pitchFamily="34" charset="0"/>
                <a:hlinkClick r:id="rId3"/>
              </a:rPr>
              <a:t>https://admin.microsoft.com/#/MessageCenter</a:t>
            </a:r>
            <a:r>
              <a:rPr lang="de-DE" dirty="0">
                <a:latin typeface="Aptos" panose="020B00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95924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3A307F5-9AEA-40BD-A880-754C7400F5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graphicFrame>
        <p:nvGraphicFramePr>
          <p:cNvPr id="6" name="Tabelle 6">
            <a:extLst>
              <a:ext uri="{FF2B5EF4-FFF2-40B4-BE49-F238E27FC236}">
                <a16:creationId xmlns:a16="http://schemas.microsoft.com/office/drawing/2014/main" id="{0F955DCC-462D-431D-BBDE-26F10687D5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9721754"/>
              </p:ext>
            </p:extLst>
          </p:nvPr>
        </p:nvGraphicFramePr>
        <p:xfrm>
          <a:off x="838199" y="1586441"/>
          <a:ext cx="10515600" cy="3749040"/>
        </p:xfrm>
        <a:graphic>
          <a:graphicData uri="http://schemas.openxmlformats.org/drawingml/2006/table">
            <a:tbl>
              <a:tblPr firstRow="1" bandRow="1">
                <a:tableStyleId>{22838BEF-8BB2-4498-84A7-C5851F593DF1}</a:tableStyleId>
              </a:tblPr>
              <a:tblGrid>
                <a:gridCol w="1876426">
                  <a:extLst>
                    <a:ext uri="{9D8B030D-6E8A-4147-A177-3AD203B41FA5}">
                      <a16:colId xmlns:a16="http://schemas.microsoft.com/office/drawing/2014/main" val="990303985"/>
                    </a:ext>
                  </a:extLst>
                </a:gridCol>
                <a:gridCol w="8639174">
                  <a:extLst>
                    <a:ext uri="{9D8B030D-6E8A-4147-A177-3AD203B41FA5}">
                      <a16:colId xmlns:a16="http://schemas.microsoft.com/office/drawing/2014/main" val="133740419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sz="2400" dirty="0">
                          <a:latin typeface="Aptos" panose="020B0004020202020204" pitchFamily="34" charset="0"/>
                        </a:rPr>
                        <a:t>18:00 - 18: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2400" dirty="0">
                          <a:latin typeface="Aptos" panose="020B0004020202020204" pitchFamily="34" charset="0"/>
                        </a:rPr>
                        <a:t>Landing Zo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24379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2400" dirty="0">
                          <a:latin typeface="Aptos" panose="020B0004020202020204" pitchFamily="34" charset="0"/>
                        </a:rPr>
                        <a:t>18:15 - 19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400" b="1" dirty="0">
                          <a:latin typeface="Aptos" panose="020B0004020202020204" pitchFamily="34" charset="0"/>
                        </a:rPr>
                        <a:t>Webinare mit Microsoft Teams (Premium)</a:t>
                      </a:r>
                      <a:br>
                        <a:rPr lang="de-DE" sz="2400" b="1" dirty="0"/>
                      </a:br>
                      <a:r>
                        <a:rPr lang="de-DE" sz="2400" b="0" dirty="0"/>
                        <a:t>Thomas Stensitzk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52015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2400" dirty="0">
                          <a:latin typeface="Aptos" panose="020B0004020202020204" pitchFamily="34" charset="0"/>
                        </a:rPr>
                        <a:t>19:15 - 19: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2400" b="1" i="1" strike="noStrike" dirty="0">
                          <a:latin typeface="Aptos" panose="020B0004020202020204" pitchFamily="34" charset="0"/>
                        </a:rPr>
                        <a:t>Microsoft Teams Neuigkeiten</a:t>
                      </a:r>
                      <a:br>
                        <a:rPr lang="de-DE" sz="2400" b="1" i="1" dirty="0"/>
                      </a:br>
                      <a:r>
                        <a:rPr lang="de-DE" sz="2400" dirty="0"/>
                        <a:t>Thomas Stensitzki (@stensitzki, @stensitzki.bsky.social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64414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2400" dirty="0">
                          <a:latin typeface="Aptos" panose="020B0004020202020204" pitchFamily="34" charset="0"/>
                        </a:rPr>
                        <a:t>19:45 –</a:t>
                      </a:r>
                      <a:br>
                        <a:rPr lang="de-DE" sz="2400" dirty="0">
                          <a:latin typeface="Aptos" panose="020B0004020202020204" pitchFamily="34" charset="0"/>
                        </a:rPr>
                      </a:br>
                      <a:r>
                        <a:rPr lang="de-DE" sz="2400" dirty="0">
                          <a:latin typeface="Aptos" panose="020B0004020202020204" pitchFamily="34" charset="0"/>
                        </a:rPr>
                        <a:t>20: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2400" b="1" dirty="0">
                          <a:latin typeface="Aptos" panose="020B0004020202020204" pitchFamily="34" charset="0"/>
                        </a:rPr>
                        <a:t>Loop-Komponenten in Teams-Kanälen</a:t>
                      </a:r>
                    </a:p>
                    <a:p>
                      <a:r>
                        <a:rPr lang="de-DE" sz="2400" dirty="0"/>
                        <a:t>René </a:t>
                      </a:r>
                      <a:r>
                        <a:rPr lang="de-DE" sz="2400" dirty="0" err="1"/>
                        <a:t>Wasel</a:t>
                      </a:r>
                      <a:r>
                        <a:rPr lang="de-DE" sz="2400" dirty="0"/>
                        <a:t> (@ReneWasel, @renewasel.bsky.social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00297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e-DE" sz="2400" dirty="0">
                        <a:latin typeface="Aptos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2400" dirty="0">
                          <a:latin typeface="Aptos" panose="020B0004020202020204" pitchFamily="34" charset="0"/>
                        </a:rPr>
                        <a:t>Organisatorisch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9724932"/>
                  </a:ext>
                </a:extLst>
              </a:tr>
            </a:tbl>
          </a:graphicData>
        </a:graphic>
      </p:graphicFrame>
      <p:sp>
        <p:nvSpPr>
          <p:cNvPr id="5" name="Textfeld 4">
            <a:extLst>
              <a:ext uri="{FF2B5EF4-FFF2-40B4-BE49-F238E27FC236}">
                <a16:creationId xmlns:a16="http://schemas.microsoft.com/office/drawing/2014/main" id="{EE6719E1-4DB6-4D58-BA77-937CF975247C}"/>
              </a:ext>
            </a:extLst>
          </p:cNvPr>
          <p:cNvSpPr txBox="1"/>
          <p:nvPr/>
        </p:nvSpPr>
        <p:spPr>
          <a:xfrm>
            <a:off x="1714498" y="5921268"/>
            <a:ext cx="96393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i="1" dirty="0">
                <a:latin typeface="Aptos" panose="020B0004020202020204" pitchFamily="34" charset="0"/>
              </a:rPr>
              <a:t>Dieses Meeting wird aufgezeichnet und online auf YouTube bereitgestellt.</a:t>
            </a:r>
            <a:br>
              <a:rPr lang="de-DE" sz="1600" i="1" dirty="0">
                <a:latin typeface="Aptos" panose="020B0004020202020204" pitchFamily="34" charset="0"/>
              </a:rPr>
            </a:br>
            <a:r>
              <a:rPr lang="de-DE" sz="1600" i="1" dirty="0">
                <a:latin typeface="Aptos" panose="020B0004020202020204" pitchFamily="34" charset="0"/>
              </a:rPr>
              <a:t>This </a:t>
            </a:r>
            <a:r>
              <a:rPr lang="de-DE" sz="1600" i="1" dirty="0" err="1">
                <a:latin typeface="Aptos" panose="020B0004020202020204" pitchFamily="34" charset="0"/>
              </a:rPr>
              <a:t>meeting</a:t>
            </a:r>
            <a:r>
              <a:rPr lang="de-DE" sz="1600" i="1" dirty="0">
                <a:latin typeface="Aptos" panose="020B0004020202020204" pitchFamily="34" charset="0"/>
              </a:rPr>
              <a:t> will be </a:t>
            </a:r>
            <a:r>
              <a:rPr lang="de-DE" sz="1600" i="1" dirty="0" err="1">
                <a:latin typeface="Aptos" panose="020B0004020202020204" pitchFamily="34" charset="0"/>
              </a:rPr>
              <a:t>recorded</a:t>
            </a:r>
            <a:r>
              <a:rPr lang="de-DE" sz="1600" i="1" dirty="0">
                <a:latin typeface="Aptos" panose="020B0004020202020204" pitchFamily="34" charset="0"/>
              </a:rPr>
              <a:t> and </a:t>
            </a:r>
            <a:r>
              <a:rPr lang="de-DE" sz="1600" i="1" dirty="0" err="1">
                <a:latin typeface="Aptos" panose="020B0004020202020204" pitchFamily="34" charset="0"/>
              </a:rPr>
              <a:t>made</a:t>
            </a:r>
            <a:r>
              <a:rPr lang="de-DE" sz="1600" i="1" dirty="0">
                <a:latin typeface="Aptos" panose="020B0004020202020204" pitchFamily="34" charset="0"/>
              </a:rPr>
              <a:t> available online.</a:t>
            </a:r>
          </a:p>
        </p:txBody>
      </p:sp>
      <p:grpSp>
        <p:nvGrpSpPr>
          <p:cNvPr id="7" name="Grafik 3" descr="Webcam">
            <a:extLst>
              <a:ext uri="{FF2B5EF4-FFF2-40B4-BE49-F238E27FC236}">
                <a16:creationId xmlns:a16="http://schemas.microsoft.com/office/drawing/2014/main" id="{5208F678-5B34-4CB8-9EB9-59A6E4079C9F}"/>
              </a:ext>
            </a:extLst>
          </p:cNvPr>
          <p:cNvGrpSpPr/>
          <p:nvPr/>
        </p:nvGrpSpPr>
        <p:grpSpPr>
          <a:xfrm>
            <a:off x="838198" y="5792681"/>
            <a:ext cx="914400" cy="914400"/>
            <a:chOff x="838198" y="5792681"/>
            <a:chExt cx="914400" cy="914400"/>
          </a:xfrm>
        </p:grpSpPr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D1326C8E-7355-49F1-8E55-C858E51F0032}"/>
                </a:ext>
              </a:extLst>
            </p:cNvPr>
            <p:cNvSpPr/>
            <p:nvPr/>
          </p:nvSpPr>
          <p:spPr>
            <a:xfrm>
              <a:off x="1028698" y="5926031"/>
              <a:ext cx="533400" cy="647700"/>
            </a:xfrm>
            <a:custGeom>
              <a:avLst/>
              <a:gdLst>
                <a:gd name="connsiteX0" fmla="*/ 114300 w 533400"/>
                <a:gd name="connsiteY0" fmla="*/ 266700 h 647700"/>
                <a:gd name="connsiteX1" fmla="*/ 266700 w 533400"/>
                <a:gd name="connsiteY1" fmla="*/ 114300 h 647700"/>
                <a:gd name="connsiteX2" fmla="*/ 419100 w 533400"/>
                <a:gd name="connsiteY2" fmla="*/ 266700 h 647700"/>
                <a:gd name="connsiteX3" fmla="*/ 266700 w 533400"/>
                <a:gd name="connsiteY3" fmla="*/ 419100 h 647700"/>
                <a:gd name="connsiteX4" fmla="*/ 114300 w 533400"/>
                <a:gd name="connsiteY4" fmla="*/ 266700 h 647700"/>
                <a:gd name="connsiteX5" fmla="*/ 266700 w 533400"/>
                <a:gd name="connsiteY5" fmla="*/ 38100 h 647700"/>
                <a:gd name="connsiteX6" fmla="*/ 285750 w 533400"/>
                <a:gd name="connsiteY6" fmla="*/ 57150 h 647700"/>
                <a:gd name="connsiteX7" fmla="*/ 266700 w 533400"/>
                <a:gd name="connsiteY7" fmla="*/ 76200 h 647700"/>
                <a:gd name="connsiteX8" fmla="*/ 247650 w 533400"/>
                <a:gd name="connsiteY8" fmla="*/ 57150 h 647700"/>
                <a:gd name="connsiteX9" fmla="*/ 266700 w 533400"/>
                <a:gd name="connsiteY9" fmla="*/ 38100 h 647700"/>
                <a:gd name="connsiteX10" fmla="*/ 461963 w 533400"/>
                <a:gd name="connsiteY10" fmla="*/ 586740 h 647700"/>
                <a:gd name="connsiteX11" fmla="*/ 342900 w 533400"/>
                <a:gd name="connsiteY11" fmla="*/ 571500 h 647700"/>
                <a:gd name="connsiteX12" fmla="*/ 342900 w 533400"/>
                <a:gd name="connsiteY12" fmla="*/ 521970 h 647700"/>
                <a:gd name="connsiteX13" fmla="*/ 533400 w 533400"/>
                <a:gd name="connsiteY13" fmla="*/ 266700 h 647700"/>
                <a:gd name="connsiteX14" fmla="*/ 266700 w 533400"/>
                <a:gd name="connsiteY14" fmla="*/ 0 h 647700"/>
                <a:gd name="connsiteX15" fmla="*/ 0 w 533400"/>
                <a:gd name="connsiteY15" fmla="*/ 266700 h 647700"/>
                <a:gd name="connsiteX16" fmla="*/ 190500 w 533400"/>
                <a:gd name="connsiteY16" fmla="*/ 521970 h 647700"/>
                <a:gd name="connsiteX17" fmla="*/ 190500 w 533400"/>
                <a:gd name="connsiteY17" fmla="*/ 571500 h 647700"/>
                <a:gd name="connsiteX18" fmla="*/ 71438 w 533400"/>
                <a:gd name="connsiteY18" fmla="*/ 586740 h 647700"/>
                <a:gd name="connsiteX19" fmla="*/ 38100 w 533400"/>
                <a:gd name="connsiteY19" fmla="*/ 624840 h 647700"/>
                <a:gd name="connsiteX20" fmla="*/ 38100 w 533400"/>
                <a:gd name="connsiteY20" fmla="*/ 647700 h 647700"/>
                <a:gd name="connsiteX21" fmla="*/ 495300 w 533400"/>
                <a:gd name="connsiteY21" fmla="*/ 647700 h 647700"/>
                <a:gd name="connsiteX22" fmla="*/ 495300 w 533400"/>
                <a:gd name="connsiteY22" fmla="*/ 623888 h 647700"/>
                <a:gd name="connsiteX23" fmla="*/ 461963 w 533400"/>
                <a:gd name="connsiteY23" fmla="*/ 58674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33400" h="647700">
                  <a:moveTo>
                    <a:pt x="114300" y="266700"/>
                  </a:moveTo>
                  <a:cubicBezTo>
                    <a:pt x="114300" y="182880"/>
                    <a:pt x="182880" y="114300"/>
                    <a:pt x="266700" y="114300"/>
                  </a:cubicBezTo>
                  <a:cubicBezTo>
                    <a:pt x="350520" y="114300"/>
                    <a:pt x="419100" y="182880"/>
                    <a:pt x="419100" y="266700"/>
                  </a:cubicBezTo>
                  <a:cubicBezTo>
                    <a:pt x="419100" y="350520"/>
                    <a:pt x="350520" y="419100"/>
                    <a:pt x="266700" y="419100"/>
                  </a:cubicBezTo>
                  <a:cubicBezTo>
                    <a:pt x="182880" y="419100"/>
                    <a:pt x="114300" y="350520"/>
                    <a:pt x="114300" y="266700"/>
                  </a:cubicBezTo>
                  <a:close/>
                  <a:moveTo>
                    <a:pt x="266700" y="38100"/>
                  </a:moveTo>
                  <a:cubicBezTo>
                    <a:pt x="277178" y="38100"/>
                    <a:pt x="285750" y="46672"/>
                    <a:pt x="285750" y="57150"/>
                  </a:cubicBezTo>
                  <a:cubicBezTo>
                    <a:pt x="285750" y="67628"/>
                    <a:pt x="277178" y="76200"/>
                    <a:pt x="266700" y="76200"/>
                  </a:cubicBezTo>
                  <a:cubicBezTo>
                    <a:pt x="256223" y="76200"/>
                    <a:pt x="247650" y="67628"/>
                    <a:pt x="247650" y="57150"/>
                  </a:cubicBezTo>
                  <a:cubicBezTo>
                    <a:pt x="247650" y="46672"/>
                    <a:pt x="256223" y="38100"/>
                    <a:pt x="266700" y="38100"/>
                  </a:cubicBezTo>
                  <a:close/>
                  <a:moveTo>
                    <a:pt x="461963" y="586740"/>
                  </a:moveTo>
                  <a:lnTo>
                    <a:pt x="342900" y="571500"/>
                  </a:lnTo>
                  <a:lnTo>
                    <a:pt x="342900" y="521970"/>
                  </a:lnTo>
                  <a:cubicBezTo>
                    <a:pt x="453390" y="489585"/>
                    <a:pt x="533400" y="387668"/>
                    <a:pt x="533400" y="266700"/>
                  </a:cubicBezTo>
                  <a:cubicBezTo>
                    <a:pt x="533400" y="119063"/>
                    <a:pt x="414338" y="0"/>
                    <a:pt x="266700" y="0"/>
                  </a:cubicBezTo>
                  <a:cubicBezTo>
                    <a:pt x="119063" y="0"/>
                    <a:pt x="0" y="119063"/>
                    <a:pt x="0" y="266700"/>
                  </a:cubicBezTo>
                  <a:cubicBezTo>
                    <a:pt x="0" y="387668"/>
                    <a:pt x="80010" y="489585"/>
                    <a:pt x="190500" y="521970"/>
                  </a:cubicBezTo>
                  <a:lnTo>
                    <a:pt x="190500" y="571500"/>
                  </a:lnTo>
                  <a:lnTo>
                    <a:pt x="71438" y="586740"/>
                  </a:lnTo>
                  <a:cubicBezTo>
                    <a:pt x="52388" y="589598"/>
                    <a:pt x="38100" y="605790"/>
                    <a:pt x="38100" y="624840"/>
                  </a:cubicBezTo>
                  <a:lnTo>
                    <a:pt x="38100" y="647700"/>
                  </a:lnTo>
                  <a:lnTo>
                    <a:pt x="495300" y="647700"/>
                  </a:lnTo>
                  <a:lnTo>
                    <a:pt x="495300" y="623888"/>
                  </a:lnTo>
                  <a:cubicBezTo>
                    <a:pt x="495300" y="604838"/>
                    <a:pt x="481013" y="588645"/>
                    <a:pt x="461963" y="58674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>
                <a:latin typeface="Aptos" panose="020B0004020202020204" pitchFamily="34" charset="0"/>
              </a:endParaRPr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31230280-6974-4185-8DD1-18BF02C3192B}"/>
                </a:ext>
              </a:extLst>
            </p:cNvPr>
            <p:cNvSpPr/>
            <p:nvPr/>
          </p:nvSpPr>
          <p:spPr>
            <a:xfrm>
              <a:off x="1181098" y="6078431"/>
              <a:ext cx="228600" cy="228600"/>
            </a:xfrm>
            <a:custGeom>
              <a:avLst/>
              <a:gdLst>
                <a:gd name="connsiteX0" fmla="*/ 114300 w 228600"/>
                <a:gd name="connsiteY0" fmla="*/ 171450 h 228600"/>
                <a:gd name="connsiteX1" fmla="*/ 57150 w 228600"/>
                <a:gd name="connsiteY1" fmla="*/ 114300 h 228600"/>
                <a:gd name="connsiteX2" fmla="*/ 114300 w 228600"/>
                <a:gd name="connsiteY2" fmla="*/ 57150 h 228600"/>
                <a:gd name="connsiteX3" fmla="*/ 171450 w 228600"/>
                <a:gd name="connsiteY3" fmla="*/ 114300 h 228600"/>
                <a:gd name="connsiteX4" fmla="*/ 114300 w 228600"/>
                <a:gd name="connsiteY4" fmla="*/ 171450 h 228600"/>
                <a:gd name="connsiteX5" fmla="*/ 114300 w 228600"/>
                <a:gd name="connsiteY5" fmla="*/ 0 h 228600"/>
                <a:gd name="connsiteX6" fmla="*/ 0 w 228600"/>
                <a:gd name="connsiteY6" fmla="*/ 114300 h 228600"/>
                <a:gd name="connsiteX7" fmla="*/ 114300 w 228600"/>
                <a:gd name="connsiteY7" fmla="*/ 228600 h 228600"/>
                <a:gd name="connsiteX8" fmla="*/ 228600 w 228600"/>
                <a:gd name="connsiteY8" fmla="*/ 114300 h 228600"/>
                <a:gd name="connsiteX9" fmla="*/ 114300 w 228600"/>
                <a:gd name="connsiteY9" fmla="*/ 0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8600" h="228600">
                  <a:moveTo>
                    <a:pt x="114300" y="171450"/>
                  </a:moveTo>
                  <a:cubicBezTo>
                    <a:pt x="82868" y="171450"/>
                    <a:pt x="57150" y="145733"/>
                    <a:pt x="57150" y="114300"/>
                  </a:cubicBezTo>
                  <a:cubicBezTo>
                    <a:pt x="57150" y="82868"/>
                    <a:pt x="82868" y="57150"/>
                    <a:pt x="114300" y="57150"/>
                  </a:cubicBezTo>
                  <a:cubicBezTo>
                    <a:pt x="145733" y="57150"/>
                    <a:pt x="171450" y="82868"/>
                    <a:pt x="171450" y="114300"/>
                  </a:cubicBezTo>
                  <a:cubicBezTo>
                    <a:pt x="171450" y="145733"/>
                    <a:pt x="145733" y="171450"/>
                    <a:pt x="114300" y="171450"/>
                  </a:cubicBezTo>
                  <a:close/>
                  <a:moveTo>
                    <a:pt x="114300" y="0"/>
                  </a:moveTo>
                  <a:cubicBezTo>
                    <a:pt x="51435" y="0"/>
                    <a:pt x="0" y="51435"/>
                    <a:pt x="0" y="114300"/>
                  </a:cubicBezTo>
                  <a:cubicBezTo>
                    <a:pt x="0" y="177165"/>
                    <a:pt x="51435" y="228600"/>
                    <a:pt x="114300" y="228600"/>
                  </a:cubicBezTo>
                  <a:cubicBezTo>
                    <a:pt x="177165" y="228600"/>
                    <a:pt x="228600" y="177165"/>
                    <a:pt x="228600" y="114300"/>
                  </a:cubicBezTo>
                  <a:cubicBezTo>
                    <a:pt x="228600" y="51435"/>
                    <a:pt x="177165" y="0"/>
                    <a:pt x="114300" y="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>
                <a:latin typeface="Aptos" panose="020B00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55324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F3A15CBD-C746-44A3-A4F0-4898CE2F02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Organisatorisches 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3459BE7-1731-4733-A912-12977C68CF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14967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7B30EE16-D925-417D-89E0-E0CFDA2C14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Organisatorisches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E4B561B6-C0CF-43D8-8BC7-F305B96C47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Microsoft Community Tenant für User Groups</a:t>
            </a:r>
          </a:p>
          <a:p>
            <a:pPr lvl="1"/>
            <a:r>
              <a:rPr lang="de-DE" dirty="0"/>
              <a:t>Teilnahme als Microsoft 365 Gast</a:t>
            </a:r>
          </a:p>
          <a:p>
            <a:pPr lvl="1"/>
            <a:r>
              <a:rPr lang="de-DE" dirty="0"/>
              <a:t>Anmeldung: </a:t>
            </a:r>
            <a:r>
              <a:rPr lang="de-DE" dirty="0">
                <a:hlinkClick r:id="rId2"/>
              </a:rPr>
              <a:t>https://go.granikos.eu/TeamsUGForm</a:t>
            </a:r>
            <a:r>
              <a:rPr lang="de-DE" dirty="0"/>
              <a:t> </a:t>
            </a:r>
            <a:br>
              <a:rPr lang="de-DE" dirty="0"/>
            </a:br>
            <a:endParaRPr lang="de-DE" dirty="0"/>
          </a:p>
          <a:p>
            <a:r>
              <a:rPr lang="de-DE" dirty="0">
                <a:sym typeface="Wingdings" panose="05000000000000000000" pitchFamily="2" charset="2"/>
              </a:rPr>
              <a:t>Teams Meeting Teilnahme-Link</a:t>
            </a:r>
          </a:p>
          <a:p>
            <a:pPr lvl="1"/>
            <a:r>
              <a:rPr lang="de-DE" dirty="0">
                <a:sym typeface="Wingdings" panose="05000000000000000000" pitchFamily="2" charset="2"/>
                <a:hlinkClick r:id="rId3"/>
              </a:rPr>
              <a:t>https://teamsusergroup.berlin/meetup</a:t>
            </a:r>
            <a:r>
              <a:rPr lang="de-DE" dirty="0">
                <a:sym typeface="Wingdings" panose="05000000000000000000" pitchFamily="2" charset="2"/>
              </a:rPr>
              <a:t> </a:t>
            </a:r>
          </a:p>
          <a:p>
            <a:r>
              <a:rPr lang="de-DE" dirty="0">
                <a:sym typeface="Wingdings" panose="05000000000000000000" pitchFamily="2" charset="2"/>
              </a:rPr>
              <a:t>Teams User Group Aufzeichnungen</a:t>
            </a:r>
          </a:p>
          <a:p>
            <a:pPr lvl="1"/>
            <a:r>
              <a:rPr lang="de-DE" dirty="0">
                <a:sym typeface="Wingdings" panose="05000000000000000000" pitchFamily="2" charset="2"/>
                <a:hlinkClick r:id="rId4"/>
              </a:rPr>
              <a:t>https://teamsusergroup.berlin/video</a:t>
            </a:r>
            <a:r>
              <a:rPr lang="de-DE" dirty="0">
                <a:sym typeface="Wingdings" panose="05000000000000000000" pitchFamily="2" charset="2"/>
              </a:rPr>
              <a:t> </a:t>
            </a:r>
          </a:p>
          <a:p>
            <a:r>
              <a:rPr lang="de-DE" dirty="0">
                <a:sym typeface="Wingdings" panose="05000000000000000000" pitchFamily="2" charset="2"/>
              </a:rPr>
              <a:t>Teams User Group bei </a:t>
            </a:r>
            <a:r>
              <a:rPr lang="de-DE" dirty="0" err="1">
                <a:sym typeface="Wingdings" panose="05000000000000000000" pitchFamily="2" charset="2"/>
              </a:rPr>
              <a:t>Bluesky</a:t>
            </a:r>
            <a:endParaRPr lang="de-DE" dirty="0">
              <a:sym typeface="Wingdings" panose="05000000000000000000" pitchFamily="2" charset="2"/>
            </a:endParaRPr>
          </a:p>
          <a:p>
            <a:pPr lvl="1"/>
            <a:r>
              <a:rPr lang="de-DE" dirty="0" err="1">
                <a:sym typeface="Wingdings" panose="05000000000000000000" pitchFamily="2" charset="2"/>
              </a:rPr>
              <a:t>teamsugberlin.bsky.social</a:t>
            </a:r>
            <a:br>
              <a:rPr lang="de-DE" dirty="0">
                <a:sym typeface="Wingdings" panose="05000000000000000000" pitchFamily="2" charset="2"/>
              </a:rPr>
            </a:br>
            <a:endParaRPr lang="de-DE" dirty="0">
              <a:sym typeface="Wingdings" panose="05000000000000000000" pitchFamily="2" charset="2"/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DE9DABCD-CA25-2C8D-141D-F825F843D2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1969" y="4480069"/>
            <a:ext cx="1831831" cy="18318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rafik 2" descr="Ein Bild, das Symbol, Logo, Grafiken, Screenshot enthält.&#10;&#10;Automatisch generierte Beschreibung">
            <a:extLst>
              <a:ext uri="{FF2B5EF4-FFF2-40B4-BE49-F238E27FC236}">
                <a16:creationId xmlns:a16="http://schemas.microsoft.com/office/drawing/2014/main" id="{1D717E81-E6CC-BDE9-9A9C-D2158447BB7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8684" y="1158731"/>
            <a:ext cx="2438400" cy="243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1634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A4AB0BF-6550-48A4-8221-F9AE6DCEF3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Vielen Dank für eure Teilnahme!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A5A44EB-7FB9-473A-8ED3-C49DDD2E65A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pPr marL="0" indent="0">
              <a:buNone/>
            </a:pPr>
            <a:r>
              <a:rPr lang="de-DE" sz="3200" dirty="0"/>
              <a:t>Das nächste Meetup:</a:t>
            </a:r>
          </a:p>
          <a:p>
            <a:pPr marL="0" indent="0">
              <a:buNone/>
            </a:pPr>
            <a:r>
              <a:rPr lang="de-DE" sz="3200" dirty="0">
                <a:sym typeface="Wingdings" panose="05000000000000000000" pitchFamily="2" charset="2"/>
              </a:rPr>
              <a:t>	</a:t>
            </a:r>
            <a:r>
              <a:rPr lang="de-DE" sz="3200" dirty="0"/>
              <a:t> </a:t>
            </a:r>
            <a:r>
              <a:rPr lang="de-DE" sz="3200" b="1" dirty="0"/>
              <a:t>22. Februar 2024</a:t>
            </a:r>
            <a:endParaRPr lang="de-DE" sz="3200" b="1" dirty="0">
              <a:cs typeface="Calibri"/>
            </a:endParaRPr>
          </a:p>
          <a:p>
            <a:pPr marL="0" indent="0">
              <a:buNone/>
            </a:pPr>
            <a:br>
              <a:rPr lang="en-US" sz="3200" dirty="0">
                <a:hlinkClick r:id="rId3"/>
              </a:rPr>
            </a:br>
            <a:r>
              <a:rPr lang="en-US" sz="3200" dirty="0">
                <a:hlinkClick r:id="rId4"/>
              </a:rPr>
              <a:t>https://TeamsUserGroup.Berlin/register</a:t>
            </a:r>
            <a:r>
              <a:rPr lang="en-US" sz="3200" dirty="0"/>
              <a:t> </a:t>
            </a:r>
            <a:br>
              <a:rPr lang="de-DE" sz="3200" dirty="0"/>
            </a:br>
            <a:endParaRPr lang="de-DE" sz="3200" dirty="0"/>
          </a:p>
          <a:p>
            <a:pPr marL="0" indent="0">
              <a:buNone/>
            </a:pPr>
            <a:r>
              <a:rPr lang="de-DE" sz="3200" dirty="0"/>
              <a:t>Spread the Word!</a:t>
            </a:r>
          </a:p>
          <a:p>
            <a:pPr marL="0" indent="0">
              <a:buNone/>
            </a:pPr>
            <a:r>
              <a:rPr lang="de-DE" sz="3200" dirty="0"/>
              <a:t>#TeamsUGBerlin</a:t>
            </a:r>
          </a:p>
          <a:p>
            <a:pPr marL="0" indent="0">
              <a:buNone/>
            </a:pPr>
            <a:br>
              <a:rPr lang="de-DE" sz="2400" i="1" dirty="0"/>
            </a:br>
            <a:r>
              <a:rPr lang="de-DE" sz="2000" i="1" dirty="0"/>
              <a:t>Aufzeichnungen unserer Meetups sind im Community Team und bei YouTube verfügbar</a:t>
            </a:r>
            <a:br>
              <a:rPr lang="de-DE" sz="2000" i="1" dirty="0"/>
            </a:br>
            <a:r>
              <a:rPr lang="de-DE" sz="2000" i="1" dirty="0"/>
              <a:t>Präsentationen sind als PPTX im Community Mandanten verfügbar</a:t>
            </a:r>
          </a:p>
          <a:p>
            <a:pPr marL="0" indent="0">
              <a:buNone/>
            </a:pPr>
            <a:endParaRPr lang="de-DE" sz="3200" dirty="0"/>
          </a:p>
          <a:p>
            <a:pPr marL="0" indent="0">
              <a:buNone/>
            </a:pPr>
            <a:endParaRPr lang="de-DE" sz="3200" dirty="0"/>
          </a:p>
          <a:p>
            <a:pPr marL="0" indent="0">
              <a:buNone/>
            </a:pPr>
            <a:endParaRPr lang="en-US" sz="3200" dirty="0"/>
          </a:p>
          <a:p>
            <a:pPr marL="0" indent="0">
              <a:buNone/>
            </a:pPr>
            <a:endParaRPr lang="de-DE" sz="3200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7C90142-B1AA-1344-2DB1-054C9B2C6B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28451" y="3737026"/>
            <a:ext cx="1925349" cy="1925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32792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F3A15CBD-C746-44A3-A4F0-4898CE2F02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Offene Diskussion 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3459BE7-1731-4733-A912-12977C68CF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8334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F3A15CBD-C746-44A3-A4F0-4898CE2F02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6000" b="1" dirty="0"/>
              <a:t>Webinare mit Microsoft Teams (Premium)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3459BE7-1731-4733-A912-12977C68CF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i="1" dirty="0"/>
              <a:t>Thomas Stensitzki</a:t>
            </a:r>
          </a:p>
        </p:txBody>
      </p:sp>
      <p:pic>
        <p:nvPicPr>
          <p:cNvPr id="2" name="Grafik 1" descr="Ein Bild, das Symbol, Logo, Grafiken, Screenshot enthält.&#10;&#10;Automatisch generierte Beschreibung">
            <a:extLst>
              <a:ext uri="{FF2B5EF4-FFF2-40B4-BE49-F238E27FC236}">
                <a16:creationId xmlns:a16="http://schemas.microsoft.com/office/drawing/2014/main" id="{2D4F20BA-957A-E4A8-5973-4395A784304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089" y="0"/>
            <a:ext cx="2438400" cy="243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8998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0671A8AE-40A1-4631-A6B8-581AFF0654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Camera lens close up">
            <a:extLst>
              <a:ext uri="{FF2B5EF4-FFF2-40B4-BE49-F238E27FC236}">
                <a16:creationId xmlns:a16="http://schemas.microsoft.com/office/drawing/2014/main" id="{CF4A5BDA-987C-0075-B56E-A06CBB9EF92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5627" b="-1"/>
          <a:stretch/>
        </p:blipFill>
        <p:spPr>
          <a:xfrm>
            <a:off x="3523488" y="10"/>
            <a:ext cx="8668512" cy="685799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AB58EF07-17C2-48CF-ABB0-EEF1F17CB8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" y="0"/>
            <a:ext cx="9339206" cy="6858000"/>
          </a:xfrm>
          <a:prstGeom prst="rect">
            <a:avLst/>
          </a:prstGeom>
          <a:gradFill>
            <a:gsLst>
              <a:gs pos="58000">
                <a:schemeClr val="tx1"/>
              </a:gs>
              <a:gs pos="33000">
                <a:schemeClr val="tx1">
                  <a:alpha val="64000"/>
                </a:schemeClr>
              </a:gs>
              <a:gs pos="0">
                <a:schemeClr val="tx1">
                  <a:alpha val="0"/>
                </a:schemeClr>
              </a:gs>
              <a:gs pos="100000">
                <a:schemeClr val="tx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55E9E74-B9FC-897F-43D9-0E7B90E467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7981" y="1122363"/>
            <a:ext cx="4023360" cy="3204134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4800" dirty="0">
                <a:solidFill>
                  <a:schemeClr val="bg1"/>
                </a:solidFill>
                <a:latin typeface="Aptos" panose="020B0004020202020204" pitchFamily="34" charset="0"/>
              </a:rPr>
              <a:t>Demo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19A2F21-8679-810B-418A-FDD6B869AC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7980" y="4872922"/>
            <a:ext cx="4023359" cy="1208141"/>
          </a:xfrm>
        </p:spPr>
        <p:txBody>
          <a:bodyPr vert="horz" lIns="91440" tIns="45720" rIns="91440" bIns="45720" rtlCol="0">
            <a:normAutofit/>
          </a:bodyPr>
          <a:lstStyle/>
          <a:p>
            <a:endParaRPr lang="en-US" sz="20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F2F604E-43BE-4DC3-B983-E071523364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759921" y="346791"/>
            <a:ext cx="146304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8C9B587-E65E-4B52-B37C-ABEBB6E879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1029" y="4546920"/>
            <a:ext cx="3977640" cy="18288"/>
          </a:xfrm>
          <a:prstGeom prst="rect">
            <a:avLst/>
          </a:prstGeom>
          <a:solidFill>
            <a:schemeClr val="tx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62660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79D15E72-51A7-E7E1-DAA9-0DDB8D672E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inar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0F34587B-7B2E-CE23-2A93-648A846C07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>
                <a:hlinkClick r:id="rId2"/>
              </a:rPr>
              <a:t>https://events.teams.microsoft.com/event/c9997b77-ab31-479d-aab8-f90e43ac89b7@d320e379-89d3-4566-b834-6ca78a2f6399</a:t>
            </a:r>
            <a:r>
              <a:rPr lang="de-DE" dirty="0"/>
              <a:t> 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23D7302-83AF-1250-624A-1D0916FD32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29614" y="3077736"/>
            <a:ext cx="2932771" cy="2932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72144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F3A15CBD-C746-44A3-A4F0-4898CE2F02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Neues in Microsoft Teams</a:t>
            </a:r>
            <a:br>
              <a:rPr lang="de-DE" dirty="0"/>
            </a:br>
            <a:r>
              <a:rPr lang="de-DE" dirty="0"/>
              <a:t>Ankündigungen &amp; Rollouts 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3459BE7-1731-4733-A912-12977C68CF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Meetup #28 </a:t>
            </a:r>
            <a:br>
              <a:rPr lang="de-DE" dirty="0"/>
            </a:br>
            <a:br>
              <a:rPr lang="de-DE" dirty="0"/>
            </a:br>
            <a:r>
              <a:rPr lang="de-DE" i="1" dirty="0"/>
              <a:t>Thomas Stensitzki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A0204B4B-AC00-4A91-B83C-FDA5915CC9E5}"/>
              </a:ext>
            </a:extLst>
          </p:cNvPr>
          <p:cNvSpPr txBox="1"/>
          <p:nvPr/>
        </p:nvSpPr>
        <p:spPr>
          <a:xfrm rot="20570296">
            <a:off x="6143557" y="3927744"/>
            <a:ext cx="513567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0" b="1" dirty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  <a:latin typeface="Aptos" panose="020B0004020202020204" pitchFamily="34" charset="0"/>
              </a:rPr>
              <a:t>Updates</a:t>
            </a:r>
          </a:p>
        </p:txBody>
      </p:sp>
      <p:pic>
        <p:nvPicPr>
          <p:cNvPr id="3" name="Grafik 2" descr="Ein Bild, das Symbol, Logo, Grafiken, Screenshot enthält.&#10;&#10;Automatisch generierte Beschreibung">
            <a:extLst>
              <a:ext uri="{FF2B5EF4-FFF2-40B4-BE49-F238E27FC236}">
                <a16:creationId xmlns:a16="http://schemas.microsoft.com/office/drawing/2014/main" id="{9CE283F6-AC42-BB12-8269-56DA34520BE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089" y="0"/>
            <a:ext cx="2438400" cy="243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7670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D12969B4-351A-4517-A5B8-3E6AD9CDB2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Neuigkeiten in Microsoft Teams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24DACB5-1BEC-4C86-9652-BAFD8DE56F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683240" cy="5032375"/>
          </a:xfrm>
        </p:spPr>
        <p:txBody>
          <a:bodyPr>
            <a:normAutofit/>
          </a:bodyPr>
          <a:lstStyle/>
          <a:p>
            <a:r>
              <a:rPr lang="en-US" dirty="0"/>
              <a:t>Private Line</a:t>
            </a:r>
          </a:p>
          <a:p>
            <a:r>
              <a:rPr lang="en-US" dirty="0"/>
              <a:t>Microsoft Teams Voice isolation</a:t>
            </a:r>
          </a:p>
          <a:p>
            <a:r>
              <a:rPr lang="en-US" dirty="0"/>
              <a:t>Listen to Multiple Channels on Teams Walkie Talkie</a:t>
            </a:r>
          </a:p>
          <a:p>
            <a:r>
              <a:rPr lang="en-US" dirty="0"/>
              <a:t>Quick Conflict Peek when you RSVP on Calendar Event Detail page</a:t>
            </a:r>
          </a:p>
          <a:p>
            <a:r>
              <a:rPr lang="en-US" dirty="0"/>
              <a:t>Remove Activity Feed Item in New Teams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909DC09D-B9A6-4493-9A72-1CA7ECB1F5CA}"/>
              </a:ext>
            </a:extLst>
          </p:cNvPr>
          <p:cNvSpPr/>
          <p:nvPr/>
        </p:nvSpPr>
        <p:spPr>
          <a:xfrm>
            <a:off x="911352" y="1809922"/>
            <a:ext cx="10610088" cy="491691"/>
          </a:xfrm>
          <a:prstGeom prst="roundRect">
            <a:avLst/>
          </a:prstGeom>
          <a:noFill/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pPr algn="ctr"/>
            <a:endParaRPr lang="de-DE" dirty="0"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7487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CEE4DF4C-6EA3-48DB-B011-5E7B8CB61FE6}" vid="{C1E9B41B-5C35-4701-ADD4-B631732FF83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0a061b1-bdb8-4664-ad9e-272301b45d52">
      <Terms xmlns="http://schemas.microsoft.com/office/infopath/2007/PartnerControls"/>
    </lcf76f155ced4ddcb4097134ff3c332f>
    <TaxCatchAll xmlns="ea3e4b80-20a0-46c1-93e7-c2ea17da9740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4F00FA3E7003141BC16E026FCE150A0" ma:contentTypeVersion="9" ma:contentTypeDescription="Ein neues Dokument erstellen." ma:contentTypeScope="" ma:versionID="81fdd1baeb05dd5d3c6f54ebd939c12b">
  <xsd:schema xmlns:xsd="http://www.w3.org/2001/XMLSchema" xmlns:xs="http://www.w3.org/2001/XMLSchema" xmlns:p="http://schemas.microsoft.com/office/2006/metadata/properties" xmlns:ns2="30a061b1-bdb8-4664-ad9e-272301b45d52" xmlns:ns3="ea3e4b80-20a0-46c1-93e7-c2ea17da9740" targetNamespace="http://schemas.microsoft.com/office/2006/metadata/properties" ma:root="true" ma:fieldsID="55b3a28bc68edd84972b93f076bf98e9" ns2:_="" ns3:_="">
    <xsd:import namespace="30a061b1-bdb8-4664-ad9e-272301b45d52"/>
    <xsd:import namespace="ea3e4b80-20a0-46c1-93e7-c2ea17da974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0a061b1-bdb8-4664-ad9e-272301b45d5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Bildmarkierungen" ma:readOnly="false" ma:fieldId="{5cf76f15-5ced-4ddc-b409-7134ff3c332f}" ma:taxonomyMulti="true" ma:sspId="9a67c07f-dccb-43db-a12a-df4e5df6847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3e4b80-20a0-46c1-93e7-c2ea17da9740" elementFormDefault="qualified">
    <xsd:import namespace="http://schemas.microsoft.com/office/2006/documentManagement/types"/>
    <xsd:import namespace="http://schemas.microsoft.com/office/infopath/2007/PartnerControls"/>
    <xsd:element name="TaxCatchAll" ma:index="15" nillable="true" ma:displayName="Taxonomy Catch All Column" ma:hidden="true" ma:list="{9592c7a2-20fb-48c1-9e68-3bc94bbf2989}" ma:internalName="TaxCatchAll" ma:showField="CatchAllData" ma:web="ea3e4b80-20a0-46c1-93e7-c2ea17da974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2F6437E-F52A-440A-84E7-C3E49CFC8E2E}">
  <ds:schemaRefs>
    <ds:schemaRef ds:uri="http://purl.org/dc/dcmitype/"/>
    <ds:schemaRef ds:uri="http://schemas.microsoft.com/office/2006/documentManagement/types"/>
    <ds:schemaRef ds:uri="http://schemas.microsoft.com/office/infopath/2007/PartnerControls"/>
    <ds:schemaRef ds:uri="30a061b1-bdb8-4664-ad9e-272301b45d52"/>
    <ds:schemaRef ds:uri="http://www.w3.org/XML/1998/namespace"/>
    <ds:schemaRef ds:uri="http://schemas.openxmlformats.org/package/2006/metadata/core-properties"/>
    <ds:schemaRef ds:uri="http://purl.org/dc/elements/1.1/"/>
    <ds:schemaRef ds:uri="ea3e4b80-20a0-46c1-93e7-c2ea17da9740"/>
    <ds:schemaRef ds:uri="http://schemas.microsoft.com/office/2006/metadata/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57A5EF0C-90D1-4D3C-A2B4-06A65816A67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BDF54D0-716B-414B-A931-AD7D5D19B3A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0a061b1-bdb8-4664-ad9e-272301b45d52"/>
    <ds:schemaRef ds:uri="ea3e4b80-20a0-46c1-93e7-c2ea17da974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ams-Meetup-Berlin</Template>
  <TotalTime>0</TotalTime>
  <Words>1346</Words>
  <Application>Microsoft Office PowerPoint</Application>
  <PresentationFormat>Breitbild</PresentationFormat>
  <Paragraphs>225</Paragraphs>
  <Slides>43</Slides>
  <Notes>24</Notes>
  <HiddenSlides>5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43</vt:i4>
      </vt:variant>
    </vt:vector>
  </HeadingPairs>
  <TitlesOfParts>
    <vt:vector size="49" baseType="lpstr">
      <vt:lpstr>Aptos</vt:lpstr>
      <vt:lpstr>Aptos Light</vt:lpstr>
      <vt:lpstr>Arial</vt:lpstr>
      <vt:lpstr>Calibri</vt:lpstr>
      <vt:lpstr>Wingdings</vt:lpstr>
      <vt:lpstr>Office</vt:lpstr>
      <vt:lpstr>Microsoft Teams User Group Berlin</vt:lpstr>
      <vt:lpstr>PowerPoint-Präsentation</vt:lpstr>
      <vt:lpstr>PowerPoint-Präsentation</vt:lpstr>
      <vt:lpstr>Agenda</vt:lpstr>
      <vt:lpstr>Webinare mit Microsoft Teams (Premium)</vt:lpstr>
      <vt:lpstr>Demo</vt:lpstr>
      <vt:lpstr>Webinar</vt:lpstr>
      <vt:lpstr>Neues in Microsoft Teams Ankündigungen &amp; Rollouts </vt:lpstr>
      <vt:lpstr>Neuigkeiten in Microsoft Teams</vt:lpstr>
      <vt:lpstr>Private Line</vt:lpstr>
      <vt:lpstr>Private Line</vt:lpstr>
      <vt:lpstr>Private Line</vt:lpstr>
      <vt:lpstr>Neuigkeiten in Microsoft Teams</vt:lpstr>
      <vt:lpstr>Microsoft Teams Voice isolation</vt:lpstr>
      <vt:lpstr>Microsoft Teams Voice isolation</vt:lpstr>
      <vt:lpstr>Neuigkeiten in Microsoft Teams</vt:lpstr>
      <vt:lpstr>Listen to Multiple Channels on Teams Walkie Talkie</vt:lpstr>
      <vt:lpstr>Neuigkeiten in Microsoft Teams</vt:lpstr>
      <vt:lpstr>Neuigkeiten in Microsoft Teams</vt:lpstr>
      <vt:lpstr>Remove Activity Feed Item in New Teams</vt:lpstr>
      <vt:lpstr>Neues in Microsoft Teams Ankündigungen &amp; Rollouts  für Admins</vt:lpstr>
      <vt:lpstr>Neuigkeiten in Microsoft Teams für Admins</vt:lpstr>
      <vt:lpstr>Tags management settings now include option to exclude / include guests</vt:lpstr>
      <vt:lpstr>Neuigkeiten in Microsoft Teams für Admins</vt:lpstr>
      <vt:lpstr>Collaborative Notes in Channel Meetings</vt:lpstr>
      <vt:lpstr>Neuigkeiten in Microsoft Teams für Admins</vt:lpstr>
      <vt:lpstr>New Shared display mode for BYOD meeting rooms</vt:lpstr>
      <vt:lpstr>Neuigkeiten in Microsoft Teams für Admins</vt:lpstr>
      <vt:lpstr>Microsoft Graph Virtual Appointment SMS API Beta Launch</vt:lpstr>
      <vt:lpstr>Neuigkeiten in Microsoft Teams für Admins</vt:lpstr>
      <vt:lpstr>Teams Phone and Teams Rooms licenses in device store</vt:lpstr>
      <vt:lpstr>Neuigkeiten in Microsoft Teams für Admins</vt:lpstr>
      <vt:lpstr>Teams Phone and Teams Rooms licenses in device store</vt:lpstr>
      <vt:lpstr>Neuigkeiten in Microsoft Teams für Admins</vt:lpstr>
      <vt:lpstr>Loop-Komponenten mit Microsoft Teams</vt:lpstr>
      <vt:lpstr>Offene Teams Sprechstunde </vt:lpstr>
      <vt:lpstr>Themen</vt:lpstr>
      <vt:lpstr>Microsoft Teams – Links </vt:lpstr>
      <vt:lpstr>PowerPoint-Präsentation</vt:lpstr>
      <vt:lpstr>Organisatorisches </vt:lpstr>
      <vt:lpstr>Organisatorisches</vt:lpstr>
      <vt:lpstr>Vielen Dank für eure Teilnahme!</vt:lpstr>
      <vt:lpstr>Offene Diskussion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ams User Group Berlin - Meetup Dezember 2023</dc:title>
  <dc:creator>Thomas Stensitzki</dc:creator>
  <cp:keywords>Teams</cp:keywords>
  <cp:lastModifiedBy>Thomas Stensitzki</cp:lastModifiedBy>
  <cp:revision>65</cp:revision>
  <dcterms:created xsi:type="dcterms:W3CDTF">2020-01-18T10:30:21Z</dcterms:created>
  <dcterms:modified xsi:type="dcterms:W3CDTF">2023-12-10T12:47:55Z</dcterms:modified>
  <cp:category>Teams User Group</cp:category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4F00FA3E7003141BC16E026FCE150A0</vt:lpwstr>
  </property>
</Properties>
</file>